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9" r:id="rId1"/>
  </p:sldMasterIdLst>
  <p:notesMasterIdLst>
    <p:notesMasterId r:id="rId36"/>
  </p:notesMasterIdLst>
  <p:handoutMasterIdLst>
    <p:handoutMasterId r:id="rId37"/>
  </p:handoutMasterIdLst>
  <p:sldIdLst>
    <p:sldId id="365" r:id="rId2"/>
    <p:sldId id="414" r:id="rId3"/>
    <p:sldId id="417" r:id="rId4"/>
    <p:sldId id="418" r:id="rId5"/>
    <p:sldId id="428" r:id="rId6"/>
    <p:sldId id="451" r:id="rId7"/>
    <p:sldId id="449" r:id="rId8"/>
    <p:sldId id="431" r:id="rId9"/>
    <p:sldId id="432" r:id="rId10"/>
    <p:sldId id="450" r:id="rId11"/>
    <p:sldId id="416" r:id="rId12"/>
    <p:sldId id="456" r:id="rId13"/>
    <p:sldId id="429" r:id="rId14"/>
    <p:sldId id="447" r:id="rId15"/>
    <p:sldId id="433" r:id="rId16"/>
    <p:sldId id="437" r:id="rId17"/>
    <p:sldId id="438" r:id="rId18"/>
    <p:sldId id="439" r:id="rId19"/>
    <p:sldId id="440" r:id="rId20"/>
    <p:sldId id="442" r:id="rId21"/>
    <p:sldId id="443" r:id="rId22"/>
    <p:sldId id="444" r:id="rId23"/>
    <p:sldId id="445" r:id="rId24"/>
    <p:sldId id="452" r:id="rId25"/>
    <p:sldId id="454" r:id="rId26"/>
    <p:sldId id="455" r:id="rId27"/>
    <p:sldId id="453" r:id="rId28"/>
    <p:sldId id="446" r:id="rId29"/>
    <p:sldId id="448" r:id="rId30"/>
    <p:sldId id="436" r:id="rId31"/>
    <p:sldId id="389" r:id="rId32"/>
    <p:sldId id="434" r:id="rId33"/>
    <p:sldId id="435" r:id="rId34"/>
    <p:sldId id="397" r:id="rId35"/>
  </p:sldIdLst>
  <p:sldSz cx="12192000" cy="6858000"/>
  <p:notesSz cx="6858000" cy="9144000"/>
  <p:embeddedFontLs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Gotham" panose="02000604040000020004" pitchFamily="2" charset="0"/>
      <p:regular r:id="rId42"/>
      <p:bold r:id="rId43"/>
      <p:italic r:id="rId44"/>
      <p:boldItalic r:id="rId45"/>
    </p:embeddedFont>
    <p:embeddedFont>
      <p:font typeface="Segoe UI" panose="020B0502040204020203" pitchFamily="34" charset="0"/>
      <p:regular r:id="rId46"/>
      <p:bold r:id="rId47"/>
      <p:italic r:id="rId48"/>
      <p:boldItalic r:id="rId49"/>
    </p:embeddedFont>
  </p:embeddedFontLst>
  <p:custDataLst>
    <p:tags r:id="rId5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EBFE929-4279-44C2-9957-180D0F2A0390}">
          <p14:sldIdLst>
            <p14:sldId id="365"/>
            <p14:sldId id="414"/>
            <p14:sldId id="417"/>
            <p14:sldId id="418"/>
            <p14:sldId id="428"/>
            <p14:sldId id="451"/>
            <p14:sldId id="449"/>
            <p14:sldId id="431"/>
            <p14:sldId id="432"/>
            <p14:sldId id="450"/>
            <p14:sldId id="416"/>
            <p14:sldId id="456"/>
            <p14:sldId id="429"/>
            <p14:sldId id="447"/>
            <p14:sldId id="433"/>
            <p14:sldId id="437"/>
            <p14:sldId id="438"/>
            <p14:sldId id="439"/>
            <p14:sldId id="440"/>
            <p14:sldId id="442"/>
            <p14:sldId id="443"/>
            <p14:sldId id="444"/>
            <p14:sldId id="445"/>
            <p14:sldId id="452"/>
            <p14:sldId id="454"/>
            <p14:sldId id="455"/>
            <p14:sldId id="453"/>
            <p14:sldId id="446"/>
            <p14:sldId id="448"/>
          </p14:sldIdLst>
        </p14:section>
        <p14:section name="Section Breaks/Impact Text" id="{30F48530-F558-4888-ADF1-18D421FDEEC8}">
          <p14:sldIdLst>
            <p14:sldId id="436"/>
            <p14:sldId id="389"/>
            <p14:sldId id="434"/>
            <p14:sldId id="435"/>
            <p14:sldId id="397"/>
          </p14:sldIdLst>
        </p14:section>
      </p14:sectionLst>
    </p:ext>
    <p:ext uri="{EFAFB233-063F-42B5-8137-9DF3F51BA10A}">
      <p15:sldGuideLst xmlns:p15="http://schemas.microsoft.com/office/powerpoint/2012/main">
        <p15:guide id="1" pos="244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864" userDrawn="1">
          <p15:clr>
            <a:srgbClr val="A4A3A4"/>
          </p15:clr>
        </p15:guide>
        <p15:guide id="5" pos="7392" userDrawn="1">
          <p15:clr>
            <a:srgbClr val="A4A3A4"/>
          </p15:clr>
        </p15:guide>
        <p15:guide id="6" pos="288" userDrawn="1">
          <p15:clr>
            <a:srgbClr val="A4A3A4"/>
          </p15:clr>
        </p15:guide>
        <p15:guide id="7" pos="1488" userDrawn="1">
          <p15:clr>
            <a:srgbClr val="A4A3A4"/>
          </p15:clr>
        </p15:guide>
        <p15:guide id="8" pos="48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4FB"/>
    <a:srgbClr val="3B3A3B"/>
    <a:srgbClr val="CCCCCC"/>
    <a:srgbClr val="ECF2FA"/>
    <a:srgbClr val="E4EDF8"/>
    <a:srgbClr val="FBFEFF"/>
    <a:srgbClr val="EBFAFF"/>
    <a:srgbClr val="FEF8FB"/>
    <a:srgbClr val="FAF0FA"/>
    <a:srgbClr val="EF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88" autoAdjust="0"/>
    <p:restoredTop sz="96115" autoAdjust="0"/>
  </p:normalViewPr>
  <p:slideViewPr>
    <p:cSldViewPr>
      <p:cViewPr varScale="1">
        <p:scale>
          <a:sx n="82" d="100"/>
          <a:sy n="82" d="100"/>
        </p:scale>
        <p:origin x="941" y="58"/>
      </p:cViewPr>
      <p:guideLst>
        <p:guide pos="2448"/>
        <p:guide orient="horz" pos="2160"/>
        <p:guide orient="horz" pos="864"/>
        <p:guide pos="7392"/>
        <p:guide pos="288"/>
        <p:guide pos="1488"/>
        <p:guide pos="489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96"/>
    </p:cViewPr>
  </p:sorterViewPr>
  <p:notesViewPr>
    <p:cSldViewPr showGuides="1">
      <p:cViewPr varScale="1">
        <p:scale>
          <a:sx n="81" d="100"/>
          <a:sy n="81" d="100"/>
        </p:scale>
        <p:origin x="389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49" Type="http://schemas.openxmlformats.org/officeDocument/2006/relationships/font" Target="fonts/font12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D58D42-F1D1-48C7-8518-ADAE15D241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7BDC89-D429-4E8F-ACF1-DC4052B018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638CF6-8CC0-4ED6-8653-08150C4FDA53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F6DB8A-D72B-48E6-AADD-64506EAE7E1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A53303-DFDC-4E74-8802-D6636AC86F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C33C1-3EF6-43C3-832B-75E9DBC869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27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64652C-59DD-4FAD-8373-229DDFC6EFC6}" type="datetimeFigureOut">
              <a:rPr lang="en-US" smtClean="0"/>
              <a:t>9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07EED-D017-40BE-B97D-60F985581D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043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666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C6F8812D-ACC8-F522-11F8-5840FB2EFB54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024483-172B-68C9-49CD-C655D72EF487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rgbClr val="3B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B8370E87-D9C3-EA20-373C-37C1A437F04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05835"/>
            <a:ext cx="10515600" cy="646331"/>
          </a:xfrm>
        </p:spPr>
        <p:txBody>
          <a:bodyPr vert="horz">
            <a:spAutoFit/>
          </a:bodyPr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6065375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000" spc="300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06A6CAFC-0193-59CE-665C-86E49B58D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688511"/>
            <a:ext cx="4572000" cy="1345383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0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9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31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Gray Header/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rgbClr val="3B3A3B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844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98B594-50D4-C27B-10D0-A534E6398414}"/>
              </a:ext>
            </a:extLst>
          </p:cNvPr>
          <p:cNvCxnSpPr>
            <a:cxnSpLocks/>
          </p:cNvCxnSpPr>
          <p:nvPr userDrawn="1"/>
        </p:nvCxnSpPr>
        <p:spPr>
          <a:xfrm>
            <a:off x="0" y="1219200"/>
            <a:ext cx="1218895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2AF9B-B54B-A41F-ABBC-D6EF6EBBD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1798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697F4EA-2C19-983E-6700-B0F92F280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66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F5AA097-66D6-3B3A-DD1A-61CD77A0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4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TCN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3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F5AA097-66D6-3B3A-DD1A-61CD77A0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6" name="Table 18">
            <a:extLst>
              <a:ext uri="{FF2B5EF4-FFF2-40B4-BE49-F238E27FC236}">
                <a16:creationId xmlns:a16="http://schemas.microsoft.com/office/drawing/2014/main" id="{8643544F-B65C-79EA-6EE2-02C1F8D5E8F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60505687"/>
              </p:ext>
            </p:extLst>
          </p:nvPr>
        </p:nvGraphicFramePr>
        <p:xfrm>
          <a:off x="457200" y="1066800"/>
          <a:ext cx="11415270" cy="2112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2545">
                  <a:extLst>
                    <a:ext uri="{9D8B030D-6E8A-4147-A177-3AD203B41FA5}">
                      <a16:colId xmlns:a16="http://schemas.microsoft.com/office/drawing/2014/main" val="2936043729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579147008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888668871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3736519797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196740595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4105262740"/>
                    </a:ext>
                  </a:extLst>
                </a:gridCol>
              </a:tblGrid>
              <a:tr h="1005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16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F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9191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003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accent1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+mj-lt"/>
                      </a:endParaRP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414042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7805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95.50.10.50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75.14.0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0.0.0.9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0.0.0.2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6.7.14.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086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5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0.65.104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0.174.23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25, 25, 25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204, 204, 204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221.218.20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00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18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latin typeface="+mj-lt"/>
                        </a:rPr>
                        <a:t>064073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00AEE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414042"/>
                          </a:solidFill>
                          <a:latin typeface="+mj-lt"/>
                        </a:rPr>
                        <a:t>41404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949698"/>
                          </a:solidFill>
                          <a:latin typeface="+mj-lt"/>
                        </a:rPr>
                        <a:t>CCCCCC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rgbClr val="949698"/>
                          </a:solidFill>
                          <a:latin typeface="+mj-lt"/>
                        </a:rPr>
                        <a:t>DDDACA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77084"/>
                  </a:ext>
                </a:extLst>
              </a:tr>
            </a:tbl>
          </a:graphicData>
        </a:graphic>
      </p:graphicFrame>
      <p:graphicFrame>
        <p:nvGraphicFramePr>
          <p:cNvPr id="8" name="Table 18">
            <a:extLst>
              <a:ext uri="{FF2B5EF4-FFF2-40B4-BE49-F238E27FC236}">
                <a16:creationId xmlns:a16="http://schemas.microsoft.com/office/drawing/2014/main" id="{7D18CD1D-E8FB-8C0E-7B40-DFFF94D4621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73495217"/>
              </p:ext>
            </p:extLst>
          </p:nvPr>
        </p:nvGraphicFramePr>
        <p:xfrm>
          <a:off x="457200" y="3371350"/>
          <a:ext cx="11415270" cy="2112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2545">
                  <a:extLst>
                    <a:ext uri="{9D8B030D-6E8A-4147-A177-3AD203B41FA5}">
                      <a16:colId xmlns:a16="http://schemas.microsoft.com/office/drawing/2014/main" val="2936043729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579147008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888668871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3736519797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196740595"/>
                    </a:ext>
                  </a:extLst>
                </a:gridCol>
                <a:gridCol w="1902545">
                  <a:extLst>
                    <a:ext uri="{9D8B030D-6E8A-4147-A177-3AD203B41FA5}">
                      <a16:colId xmlns:a16="http://schemas.microsoft.com/office/drawing/2014/main" val="4105262740"/>
                    </a:ext>
                  </a:extLst>
                </a:gridCol>
              </a:tblGrid>
              <a:tr h="1005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2B3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267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9A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C6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003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F05345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732670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69AD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A796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006738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rgbClr val="8DC63F"/>
                          </a:solidFill>
                          <a:latin typeface="+mj-lt"/>
                        </a:rPr>
                        <a:t>CMYK:</a:t>
                      </a:r>
                    </a:p>
                  </a:txBody>
                  <a:tcPr marT="91440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7805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0.83.76.0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59.100.15.1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95.50.0.9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80.10.50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95.30.95.3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50.1.98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086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RGB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5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255.43.61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88.0.18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12.116.132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51.230.12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0.104.5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541"/>
                          </a:solidFill>
                          <a:latin typeface="+mj-lt"/>
                        </a:rPr>
                        <a:t>128.255.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00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HEX: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18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F05345"/>
                          </a:solidFill>
                          <a:latin typeface="+mj-lt"/>
                        </a:rPr>
                        <a:t>FF2B3D</a:t>
                      </a:r>
                    </a:p>
                  </a:txBody>
                  <a:tcPr marT="9144" marB="9144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732670"/>
                          </a:solidFill>
                          <a:latin typeface="+mj-lt"/>
                        </a:rPr>
                        <a:t>5800B6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9AD"/>
                          </a:solidFill>
                          <a:latin typeface="+mj-lt"/>
                        </a:rPr>
                        <a:t>0C74E8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A796"/>
                          </a:solidFill>
                          <a:latin typeface="+mj-lt"/>
                        </a:rPr>
                        <a:t>33E68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006738"/>
                          </a:solidFill>
                          <a:latin typeface="+mj-lt"/>
                        </a:rPr>
                        <a:t>0DB30D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8DC63F"/>
                          </a:solidFill>
                          <a:latin typeface="+mj-lt"/>
                        </a:rPr>
                        <a:t>80FF00</a:t>
                      </a:r>
                    </a:p>
                  </a:txBody>
                  <a:tcPr marT="9144" marB="914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770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093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B_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39645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7DD979-90B0-0A3B-9710-40C38A2EC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82881" y="6172200"/>
            <a:ext cx="1551919" cy="457200"/>
          </a:xfrm>
          <a:prstGeom prst="rect">
            <a:avLst/>
          </a:prstGeom>
        </p:spPr>
      </p:pic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F297817C-38D7-A212-25CA-591CC97E062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480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BT Logo</a:t>
            </a:r>
          </a:p>
        </p:txBody>
      </p:sp>
      <p:sp>
        <p:nvSpPr>
          <p:cNvPr id="7" name="Content Placeholder 29">
            <a:extLst>
              <a:ext uri="{FF2B5EF4-FFF2-40B4-BE49-F238E27FC236}">
                <a16:creationId xmlns:a16="http://schemas.microsoft.com/office/drawing/2014/main" id="{88363F76-4E93-5A02-30BD-10AE7AF7EA6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92616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PHTC Logo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6BDB6A3-C392-E0C2-A36F-B3FC7D8B4D53}"/>
              </a:ext>
            </a:extLst>
          </p:cNvPr>
          <p:cNvSpPr txBox="1">
            <a:spLocks/>
          </p:cNvSpPr>
          <p:nvPr userDrawn="1"/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777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B_Large Blue Header/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28C9536-23E7-CF5A-5C24-00F5F41B48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2"/>
            <a:ext cx="11277600" cy="415868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ED47A4-FFC2-7A82-016D-1CB8E62215A8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A13C8D-269D-9FA1-24B6-E5423DCFD6D9}"/>
              </a:ext>
            </a:extLst>
          </p:cNvPr>
          <p:cNvCxnSpPr>
            <a:cxnSpLocks/>
          </p:cNvCxnSpPr>
          <p:nvPr userDrawn="1"/>
        </p:nvCxnSpPr>
        <p:spPr>
          <a:xfrm>
            <a:off x="0" y="1306142"/>
            <a:ext cx="12188952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32099B8-934E-6FE3-ED62-CCB024A4DC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2CBFA8-E297-AE2E-52BD-BF7AA8A56F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82881" y="6172200"/>
            <a:ext cx="1551919" cy="457200"/>
          </a:xfrm>
          <a:prstGeom prst="rect">
            <a:avLst/>
          </a:prstGeom>
        </p:spPr>
      </p:pic>
      <p:sp>
        <p:nvSpPr>
          <p:cNvPr id="5" name="Content Placeholder 29">
            <a:extLst>
              <a:ext uri="{FF2B5EF4-FFF2-40B4-BE49-F238E27FC236}">
                <a16:creationId xmlns:a16="http://schemas.microsoft.com/office/drawing/2014/main" id="{7B15C5A5-3A74-D028-92A9-D18D8A7C424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480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BT Logo</a:t>
            </a:r>
          </a:p>
        </p:txBody>
      </p:sp>
      <p:sp>
        <p:nvSpPr>
          <p:cNvPr id="6" name="Content Placeholder 29">
            <a:extLst>
              <a:ext uri="{FF2B5EF4-FFF2-40B4-BE49-F238E27FC236}">
                <a16:creationId xmlns:a16="http://schemas.microsoft.com/office/drawing/2014/main" id="{E778AC63-88FB-F454-55DD-DF407DFA0B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926160" y="5699861"/>
            <a:ext cx="2590800" cy="929539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PHTC Logo</a:t>
            </a:r>
          </a:p>
        </p:txBody>
      </p:sp>
    </p:spTree>
    <p:extLst>
      <p:ext uri="{BB962C8B-B14F-4D97-AF65-F5344CB8AC3E}">
        <p14:creationId xmlns:p14="http://schemas.microsoft.com/office/powerpoint/2010/main" val="936606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607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4086E433-24A3-C2A8-4220-57CC9409B0AD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AD4156D-CE29-95B7-AE7B-D89C1A3F334E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1C1CB5DE-D265-54AB-4CD7-01B6C5D739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1CE894-D84C-CD8C-8C61-02CE0338E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A9E77A-489C-F6B0-8477-1379A7550C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582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1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E68000C-71E6-B22A-1B16-709BF7B1B2F5}"/>
              </a:ext>
            </a:extLst>
          </p:cNvPr>
          <p:cNvSpPr/>
          <p:nvPr userDrawn="1"/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F072BB78-C198-C668-5557-F46095C8F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21436"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23D7C-C910-0D83-BD70-9CD148E5B3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BF9D36-2F03-AD57-FE7E-352FBBBFB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468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54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1F4D215-92CD-70DC-F72F-69634A0994EC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DDCCEA-E6C3-1190-D90F-38056198C3E6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749EFFD8-6C57-07F5-EADC-5AAEFE11AB5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05835"/>
            <a:ext cx="10515600" cy="646331"/>
          </a:xfrm>
        </p:spPr>
        <p:txBody>
          <a:bodyPr vert="horz">
            <a:spAutoFit/>
          </a:bodyPr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6065375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000" spc="3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7240955-9566-1158-845D-612F26C65B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0"/>
            <a:ext cx="5257800" cy="2286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35967E6C-2E57-C1F0-7516-0B994650D2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688511"/>
            <a:ext cx="4572000" cy="134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959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F69B3-6B46-4EAB-8F23-37CDEE964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1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F69B3-6B46-4EAB-8F23-37CDEE964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E68000C-71E6-B22A-1B16-709BF7B1B2F5}"/>
              </a:ext>
            </a:extLst>
          </p:cNvPr>
          <p:cNvSpPr/>
          <p:nvPr userDrawn="1"/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F072BB78-C198-C668-5557-F46095C8F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21436"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6393935-ACF4-F441-C9C9-98597351DB7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23D7C-C910-0D83-BD70-9CD148E5B3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BF9D36-2F03-AD57-FE7E-352FBBBFB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8484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pos="739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Text_Blu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28600" y="2628644"/>
            <a:ext cx="117348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0B7C54-FDBB-3908-AAAB-397D6FB14E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4480" cy="494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283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_Dark Blue/Blue Arrow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3726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object 9">
            <a:extLst>
              <a:ext uri="{FF2B5EF4-FFF2-40B4-BE49-F238E27FC236}">
                <a16:creationId xmlns:a16="http://schemas.microsoft.com/office/drawing/2014/main" id="{5BA8F9B1-D8FB-A78C-9869-1A9DD1664024}"/>
              </a:ext>
            </a:extLst>
          </p:cNvPr>
          <p:cNvGrpSpPr/>
          <p:nvPr userDrawn="1"/>
        </p:nvGrpSpPr>
        <p:grpSpPr>
          <a:xfrm rot="5400000">
            <a:off x="-1815162" y="2247900"/>
            <a:ext cx="5992524" cy="2362200"/>
            <a:chOff x="560759" y="2417705"/>
            <a:chExt cx="843915" cy="325755"/>
          </a:xfrm>
        </p:grpSpPr>
        <p:sp>
          <p:nvSpPr>
            <p:cNvPr id="3" name="object 10">
              <a:extLst>
                <a:ext uri="{FF2B5EF4-FFF2-40B4-BE49-F238E27FC236}">
                  <a16:creationId xmlns:a16="http://schemas.microsoft.com/office/drawing/2014/main" id="{544C0FD4-53CD-329E-7FBA-081839F8D25C}"/>
                </a:ext>
              </a:extLst>
            </p:cNvPr>
            <p:cNvSpPr/>
            <p:nvPr/>
          </p:nvSpPr>
          <p:spPr>
            <a:xfrm>
              <a:off x="982560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00AE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221FE83E-E96E-8B5B-3861-D6131CC0C630}"/>
                </a:ext>
              </a:extLst>
            </p:cNvPr>
            <p:cNvSpPr/>
            <p:nvPr/>
          </p:nvSpPr>
          <p:spPr>
            <a:xfrm>
              <a:off x="56075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0082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2">
              <a:extLst>
                <a:ext uri="{FF2B5EF4-FFF2-40B4-BE49-F238E27FC236}">
                  <a16:creationId xmlns:a16="http://schemas.microsoft.com/office/drawing/2014/main" id="{A159778B-80CA-2A66-077E-227BFEDC996F}"/>
                </a:ext>
              </a:extLst>
            </p:cNvPr>
            <p:cNvSpPr/>
            <p:nvPr/>
          </p:nvSpPr>
          <p:spPr>
            <a:xfrm>
              <a:off x="86995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0069A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06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Blue/Orange Arrow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object 21">
            <a:extLst>
              <a:ext uri="{FF2B5EF4-FFF2-40B4-BE49-F238E27FC236}">
                <a16:creationId xmlns:a16="http://schemas.microsoft.com/office/drawing/2014/main" id="{86015850-1F74-023D-536F-C122033A56C5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4136" y="2246876"/>
            <a:ext cx="5990470" cy="2362200"/>
            <a:chOff x="6012179" y="2417705"/>
            <a:chExt cx="844077" cy="325755"/>
          </a:xfrm>
        </p:grpSpPr>
        <p:sp>
          <p:nvSpPr>
            <p:cNvPr id="15" name="object 22">
              <a:extLst>
                <a:ext uri="{FF2B5EF4-FFF2-40B4-BE49-F238E27FC236}">
                  <a16:creationId xmlns:a16="http://schemas.microsoft.com/office/drawing/2014/main" id="{2366EFF3-5792-32B9-30A7-0DA305615742}"/>
                </a:ext>
              </a:extLst>
            </p:cNvPr>
            <p:cNvSpPr/>
            <p:nvPr/>
          </p:nvSpPr>
          <p:spPr>
            <a:xfrm>
              <a:off x="6433981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F053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23">
              <a:extLst>
                <a:ext uri="{FF2B5EF4-FFF2-40B4-BE49-F238E27FC236}">
                  <a16:creationId xmlns:a16="http://schemas.microsoft.com/office/drawing/2014/main" id="{190F0608-F135-D544-AED4-0EA3232C78D5}"/>
                </a:ext>
              </a:extLst>
            </p:cNvPr>
            <p:cNvSpPr/>
            <p:nvPr userDrawn="1"/>
          </p:nvSpPr>
          <p:spPr>
            <a:xfrm>
              <a:off x="601217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F99D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4A69A27E-C641-3B37-7890-041DAF00F030}"/>
                </a:ext>
              </a:extLst>
            </p:cNvPr>
            <p:cNvSpPr/>
            <p:nvPr/>
          </p:nvSpPr>
          <p:spPr>
            <a:xfrm>
              <a:off x="632137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E037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5E7F8FC-ACA2-0ED5-4B86-368B58A7D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3726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683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Blue/Blue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9">
            <a:extLst>
              <a:ext uri="{FF2B5EF4-FFF2-40B4-BE49-F238E27FC236}">
                <a16:creationId xmlns:a16="http://schemas.microsoft.com/office/drawing/2014/main" id="{5BA8F9B1-D8FB-A78C-9869-1A9DD1664024}"/>
              </a:ext>
            </a:extLst>
          </p:cNvPr>
          <p:cNvGrpSpPr/>
          <p:nvPr userDrawn="1"/>
        </p:nvGrpSpPr>
        <p:grpSpPr>
          <a:xfrm rot="5400000">
            <a:off x="-1815162" y="2247900"/>
            <a:ext cx="5992524" cy="2362200"/>
            <a:chOff x="560759" y="2417705"/>
            <a:chExt cx="843915" cy="325755"/>
          </a:xfrm>
        </p:grpSpPr>
        <p:sp>
          <p:nvSpPr>
            <p:cNvPr id="3" name="object 10">
              <a:extLst>
                <a:ext uri="{FF2B5EF4-FFF2-40B4-BE49-F238E27FC236}">
                  <a16:creationId xmlns:a16="http://schemas.microsoft.com/office/drawing/2014/main" id="{544C0FD4-53CD-329E-7FBA-081839F8D25C}"/>
                </a:ext>
              </a:extLst>
            </p:cNvPr>
            <p:cNvSpPr/>
            <p:nvPr/>
          </p:nvSpPr>
          <p:spPr>
            <a:xfrm>
              <a:off x="982560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00AE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221FE83E-E96E-8B5B-3861-D6131CC0C630}"/>
                </a:ext>
              </a:extLst>
            </p:cNvPr>
            <p:cNvSpPr/>
            <p:nvPr/>
          </p:nvSpPr>
          <p:spPr>
            <a:xfrm>
              <a:off x="560759" y="2417705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0082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2">
              <a:extLst>
                <a:ext uri="{FF2B5EF4-FFF2-40B4-BE49-F238E27FC236}">
                  <a16:creationId xmlns:a16="http://schemas.microsoft.com/office/drawing/2014/main" id="{A159778B-80CA-2A66-077E-227BFEDC996F}"/>
                </a:ext>
              </a:extLst>
            </p:cNvPr>
            <p:cNvSpPr/>
            <p:nvPr/>
          </p:nvSpPr>
          <p:spPr>
            <a:xfrm>
              <a:off x="869952" y="2417705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0069A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10397DC-9C9B-D31F-27DB-2AAE8669BC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802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Green/Green Arrow"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object 17">
            <a:extLst>
              <a:ext uri="{FF2B5EF4-FFF2-40B4-BE49-F238E27FC236}">
                <a16:creationId xmlns:a16="http://schemas.microsoft.com/office/drawing/2014/main" id="{08249A73-D55F-3C39-3900-D659DF11BB76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4138" y="2246876"/>
            <a:ext cx="5990465" cy="2362193"/>
            <a:chOff x="4198620" y="2417706"/>
            <a:chExt cx="843915" cy="325755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3D4A4B5D-8122-159F-9B3A-F9B9FF3D7827}"/>
                </a:ext>
              </a:extLst>
            </p:cNvPr>
            <p:cNvSpPr/>
            <p:nvPr/>
          </p:nvSpPr>
          <p:spPr>
            <a:xfrm>
              <a:off x="4620421" y="2417706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CFD33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E3A6EE7F-16F2-88F1-19FA-5C9C64B21571}"/>
                </a:ext>
              </a:extLst>
            </p:cNvPr>
            <p:cNvSpPr/>
            <p:nvPr/>
          </p:nvSpPr>
          <p:spPr>
            <a:xfrm>
              <a:off x="4198620" y="2417706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34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8DC63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68BC8CFB-7CEE-B2A9-91C7-7DC19E9C6558}"/>
                </a:ext>
              </a:extLst>
            </p:cNvPr>
            <p:cNvSpPr/>
            <p:nvPr/>
          </p:nvSpPr>
          <p:spPr>
            <a:xfrm>
              <a:off x="4507813" y="2417706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68BD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9A465CEE-3DF6-D841-EE71-45205B61C4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95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Dark Purple/Purple Arrow"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object 25">
            <a:extLst>
              <a:ext uri="{FF2B5EF4-FFF2-40B4-BE49-F238E27FC236}">
                <a16:creationId xmlns:a16="http://schemas.microsoft.com/office/drawing/2014/main" id="{E62D4F8B-51BF-37C8-318E-BCB4ADF20A8C}"/>
              </a:ext>
            </a:extLst>
          </p:cNvPr>
          <p:cNvGrpSpPr>
            <a:grpSpLocks noChangeAspect="1"/>
          </p:cNvGrpSpPr>
          <p:nvPr userDrawn="1"/>
        </p:nvGrpSpPr>
        <p:grpSpPr>
          <a:xfrm rot="5400000">
            <a:off x="-1813561" y="2246301"/>
            <a:ext cx="5989320" cy="2362200"/>
            <a:chOff x="7828026" y="2417710"/>
            <a:chExt cx="843915" cy="325755"/>
          </a:xfrm>
        </p:grpSpPr>
        <p:sp>
          <p:nvSpPr>
            <p:cNvPr id="8" name="object 26">
              <a:extLst>
                <a:ext uri="{FF2B5EF4-FFF2-40B4-BE49-F238E27FC236}">
                  <a16:creationId xmlns:a16="http://schemas.microsoft.com/office/drawing/2014/main" id="{5722A7BA-3BD5-C8F1-96F1-B41D342715D4}"/>
                </a:ext>
              </a:extLst>
            </p:cNvPr>
            <p:cNvSpPr/>
            <p:nvPr/>
          </p:nvSpPr>
          <p:spPr>
            <a:xfrm>
              <a:off x="8249827" y="2417711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112610" y="0"/>
                  </a:moveTo>
                  <a:lnTo>
                    <a:pt x="0" y="118554"/>
                  </a:lnTo>
                  <a:lnTo>
                    <a:pt x="196570" y="325488"/>
                  </a:lnTo>
                  <a:lnTo>
                    <a:pt x="421805" y="325488"/>
                  </a:lnTo>
                  <a:lnTo>
                    <a:pt x="112610" y="0"/>
                  </a:lnTo>
                  <a:close/>
                </a:path>
              </a:pathLst>
            </a:custGeom>
            <a:solidFill>
              <a:srgbClr val="80459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27">
              <a:extLst>
                <a:ext uri="{FF2B5EF4-FFF2-40B4-BE49-F238E27FC236}">
                  <a16:creationId xmlns:a16="http://schemas.microsoft.com/office/drawing/2014/main" id="{511B4168-3749-90AB-4994-9A6726F6D40D}"/>
                </a:ext>
              </a:extLst>
            </p:cNvPr>
            <p:cNvSpPr/>
            <p:nvPr/>
          </p:nvSpPr>
          <p:spPr>
            <a:xfrm>
              <a:off x="7828026" y="2417711"/>
              <a:ext cx="422275" cy="325755"/>
            </a:xfrm>
            <a:custGeom>
              <a:avLst/>
              <a:gdLst/>
              <a:ahLst/>
              <a:cxnLst/>
              <a:rect l="l" t="t" r="r" b="b"/>
              <a:pathLst>
                <a:path w="422275" h="325755">
                  <a:moveTo>
                    <a:pt x="309194" y="0"/>
                  </a:moveTo>
                  <a:lnTo>
                    <a:pt x="0" y="325488"/>
                  </a:lnTo>
                  <a:lnTo>
                    <a:pt x="225221" y="325488"/>
                  </a:lnTo>
                  <a:lnTo>
                    <a:pt x="421805" y="118554"/>
                  </a:lnTo>
                  <a:lnTo>
                    <a:pt x="309194" y="0"/>
                  </a:lnTo>
                  <a:close/>
                </a:path>
              </a:pathLst>
            </a:custGeom>
            <a:solidFill>
              <a:srgbClr val="BF21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8">
              <a:extLst>
                <a:ext uri="{FF2B5EF4-FFF2-40B4-BE49-F238E27FC236}">
                  <a16:creationId xmlns:a16="http://schemas.microsoft.com/office/drawing/2014/main" id="{F4B60704-3C65-3924-90F0-BAC7F7C3C084}"/>
                </a:ext>
              </a:extLst>
            </p:cNvPr>
            <p:cNvSpPr/>
            <p:nvPr/>
          </p:nvSpPr>
          <p:spPr>
            <a:xfrm>
              <a:off x="8137217" y="2417710"/>
              <a:ext cx="225425" cy="118745"/>
            </a:xfrm>
            <a:custGeom>
              <a:avLst/>
              <a:gdLst/>
              <a:ahLst/>
              <a:cxnLst/>
              <a:rect l="l" t="t" r="r" b="b"/>
              <a:pathLst>
                <a:path w="225425" h="118744">
                  <a:moveTo>
                    <a:pt x="225221" y="0"/>
                  </a:moveTo>
                  <a:lnTo>
                    <a:pt x="0" y="0"/>
                  </a:lnTo>
                  <a:lnTo>
                    <a:pt x="112610" y="118554"/>
                  </a:lnTo>
                  <a:lnTo>
                    <a:pt x="225221" y="0"/>
                  </a:lnTo>
                  <a:close/>
                </a:path>
              </a:pathLst>
            </a:custGeom>
            <a:solidFill>
              <a:srgbClr val="731F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67EBAB33-D150-44D9-1BD0-9B81B344AE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39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_Gray/Green Arrow">
    <p:bg>
      <p:bgPr>
        <a:solidFill>
          <a:srgbClr val="3B3A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2297F9-A4A0-D3ED-7625-1AB6013A3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object 4">
            <a:extLst>
              <a:ext uri="{FF2B5EF4-FFF2-40B4-BE49-F238E27FC236}">
                <a16:creationId xmlns:a16="http://schemas.microsoft.com/office/drawing/2014/main" id="{1C118177-F154-463B-4984-75F122F023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432738"/>
            <a:ext cx="2362201" cy="5989320"/>
            <a:chOff x="6949440" y="3108960"/>
            <a:chExt cx="325755" cy="843915"/>
          </a:xfrm>
        </p:grpSpPr>
        <p:sp>
          <p:nvSpPr>
            <p:cNvPr id="13" name="object 5">
              <a:extLst>
                <a:ext uri="{FF2B5EF4-FFF2-40B4-BE49-F238E27FC236}">
                  <a16:creationId xmlns:a16="http://schemas.microsoft.com/office/drawing/2014/main" id="{C56E061D-2D87-58A1-8DDE-81ED4FED39C7}"/>
                </a:ext>
              </a:extLst>
            </p:cNvPr>
            <p:cNvSpPr/>
            <p:nvPr/>
          </p:nvSpPr>
          <p:spPr>
            <a:xfrm>
              <a:off x="6949440" y="3530761"/>
              <a:ext cx="325755" cy="422275"/>
            </a:xfrm>
            <a:custGeom>
              <a:avLst/>
              <a:gdLst/>
              <a:ahLst/>
              <a:cxnLst/>
              <a:rect l="l" t="t" r="r" b="b"/>
              <a:pathLst>
                <a:path w="325754" h="422275">
                  <a:moveTo>
                    <a:pt x="206933" y="0"/>
                  </a:moveTo>
                  <a:lnTo>
                    <a:pt x="0" y="196570"/>
                  </a:lnTo>
                  <a:lnTo>
                    <a:pt x="0" y="421805"/>
                  </a:lnTo>
                  <a:lnTo>
                    <a:pt x="325488" y="112610"/>
                  </a:lnTo>
                  <a:lnTo>
                    <a:pt x="206933" y="0"/>
                  </a:lnTo>
                  <a:close/>
                </a:path>
              </a:pathLst>
            </a:custGeom>
            <a:solidFill>
              <a:srgbClr val="0067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>
              <a:extLst>
                <a:ext uri="{FF2B5EF4-FFF2-40B4-BE49-F238E27FC236}">
                  <a16:creationId xmlns:a16="http://schemas.microsoft.com/office/drawing/2014/main" id="{5867E575-B7C7-71A0-E521-30C7B80A189C}"/>
                </a:ext>
              </a:extLst>
            </p:cNvPr>
            <p:cNvSpPr/>
            <p:nvPr/>
          </p:nvSpPr>
          <p:spPr>
            <a:xfrm>
              <a:off x="6949440" y="3108960"/>
              <a:ext cx="325755" cy="422275"/>
            </a:xfrm>
            <a:custGeom>
              <a:avLst/>
              <a:gdLst/>
              <a:ahLst/>
              <a:cxnLst/>
              <a:rect l="l" t="t" r="r" b="b"/>
              <a:pathLst>
                <a:path w="325754" h="422275">
                  <a:moveTo>
                    <a:pt x="0" y="0"/>
                  </a:moveTo>
                  <a:lnTo>
                    <a:pt x="0" y="225234"/>
                  </a:lnTo>
                  <a:lnTo>
                    <a:pt x="206933" y="421805"/>
                  </a:lnTo>
                  <a:lnTo>
                    <a:pt x="325488" y="309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7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>
              <a:extLst>
                <a:ext uri="{FF2B5EF4-FFF2-40B4-BE49-F238E27FC236}">
                  <a16:creationId xmlns:a16="http://schemas.microsoft.com/office/drawing/2014/main" id="{6D6D25AE-E468-0D2C-0ABB-1D77B993E4E0}"/>
                </a:ext>
              </a:extLst>
            </p:cNvPr>
            <p:cNvSpPr/>
            <p:nvPr/>
          </p:nvSpPr>
          <p:spPr>
            <a:xfrm>
              <a:off x="7156375" y="3418152"/>
              <a:ext cx="118745" cy="225425"/>
            </a:xfrm>
            <a:custGeom>
              <a:avLst/>
              <a:gdLst/>
              <a:ahLst/>
              <a:cxnLst/>
              <a:rect l="l" t="t" r="r" b="b"/>
              <a:pathLst>
                <a:path w="118745" h="225425">
                  <a:moveTo>
                    <a:pt x="118554" y="0"/>
                  </a:moveTo>
                  <a:lnTo>
                    <a:pt x="0" y="112610"/>
                  </a:lnTo>
                  <a:lnTo>
                    <a:pt x="118554" y="225221"/>
                  </a:lnTo>
                  <a:lnTo>
                    <a:pt x="118554" y="0"/>
                  </a:lnTo>
                  <a:close/>
                </a:path>
              </a:pathLst>
            </a:custGeom>
            <a:solidFill>
              <a:srgbClr val="007F4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6E232AC-8883-88F8-4076-2CA3BB1B2C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800" y="2628274"/>
            <a:ext cx="9144000" cy="160071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40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1556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orient="horz" pos="14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22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9E4B907-7176-CD23-0CEB-934AFBAE499D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620981-71FA-2E62-EC8D-A3CEB80FE954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rgbClr val="3B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56CAD416-6074-9FE1-2DC0-038B62936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29000"/>
            <a:ext cx="10515600" cy="646331"/>
          </a:xfrm>
        </p:spPr>
        <p:txBody>
          <a:bodyPr vert="horz">
            <a:sp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7100" y="6081417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000" spc="300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7100" y="4133165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BDFC1486-1AD7-9614-55E9-231906FDFB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211" y="617621"/>
            <a:ext cx="2125579" cy="212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AB154-18C2-4184-965A-C6F5213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72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AB154-18C2-4184-965A-C6F5213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D4E3FF9E-3F51-BB0D-B4A3-4A17B5AB3FE5}"/>
              </a:ext>
            </a:extLst>
          </p:cNvPr>
          <p:cNvGrpSpPr/>
          <p:nvPr userDrawn="1"/>
        </p:nvGrpSpPr>
        <p:grpSpPr>
          <a:xfrm>
            <a:off x="1524" y="0"/>
            <a:ext cx="12188952" cy="6858000"/>
            <a:chOff x="1524" y="0"/>
            <a:chExt cx="12188952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B8136EF-2C14-138D-0A14-CCD5FBB6D086}"/>
                </a:ext>
              </a:extLst>
            </p:cNvPr>
            <p:cNvSpPr/>
            <p:nvPr userDrawn="1"/>
          </p:nvSpPr>
          <p:spPr>
            <a:xfrm>
              <a:off x="1524" y="0"/>
              <a:ext cx="1218895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 descr="A close up of a keyboard&#10;&#10;Description automatically generated with medium confidence">
              <a:extLst>
                <a:ext uri="{FF2B5EF4-FFF2-40B4-BE49-F238E27FC236}">
                  <a16:creationId xmlns:a16="http://schemas.microsoft.com/office/drawing/2014/main" id="{C6F287A8-593E-90C8-26A8-3D72A06B04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b="21436"/>
            <a:stretch/>
          </p:blipFill>
          <p:spPr>
            <a:xfrm>
              <a:off x="1524" y="0"/>
              <a:ext cx="12188952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9371AF-3B49-4F05-AE61-F98201B17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29000"/>
            <a:ext cx="10515600" cy="646331"/>
          </a:xfrm>
        </p:spPr>
        <p:txBody>
          <a:bodyPr vert="horz">
            <a:sp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3CD6A4F2-E139-4064-BB1C-A22D8E214A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7100" y="6081417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000" spc="3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0D85E8D0-E389-75E0-6F13-F50558E88A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7100" y="4133165"/>
            <a:ext cx="5257800" cy="228600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9ACCA49-7C04-24BF-B293-4D9C689B25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211" y="617621"/>
            <a:ext cx="2125579" cy="212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42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44" userDrawn="1">
          <p15:clr>
            <a:srgbClr val="FBAE40"/>
          </p15:clr>
        </p15:guide>
        <p15:guide id="4" orient="horz" pos="4176" userDrawn="1">
          <p15:clr>
            <a:srgbClr val="FBAE40"/>
          </p15:clr>
        </p15:guide>
        <p15:guide id="5" pos="7488" userDrawn="1">
          <p15:clr>
            <a:srgbClr val="FBAE40"/>
          </p15:clr>
        </p15:guide>
        <p15:guide id="6" pos="1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16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2533-78C9-8D6A-DA63-0EC097AA8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54864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4B7CDC-F6F4-4301-4CA1-D955CF07D5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1944" y="1445601"/>
            <a:ext cx="54864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76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a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44AD0FA-27DA-4498-96F3-E85251ACE82A}"/>
              </a:ext>
            </a:extLst>
          </p:cNvPr>
          <p:cNvSpPr/>
          <p:nvPr userDrawn="1"/>
        </p:nvSpPr>
        <p:spPr>
          <a:xfrm>
            <a:off x="-3424" y="241540"/>
            <a:ext cx="12198849" cy="914400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25D3EFC-77C2-4EC1-B9CE-A1A7F276B5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41540"/>
            <a:ext cx="11117184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B16A2B3-6891-CE5B-7923-6D78FCA6DB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326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CB21ED-6938-539D-2987-F02F6135BEB3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71FF7C9-CED2-F71D-35BA-31A58716D1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D5DAB98-AAEB-D88C-C244-2B60CF7B55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6981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CF714-3B0A-44E6-9C6D-869DB2EE61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6CF714-3B0A-44E6-9C6D-869DB2EE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12DBC6-5662-4B25-9107-B58806AB21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56719" y="6513464"/>
            <a:ext cx="5486400" cy="18466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6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8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BBCA48-C83F-48F1-89EB-EDCFBCF79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9190" y="6468470"/>
            <a:ext cx="380410" cy="256508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DCE5CC6-2F8E-4B4D-83FC-BA94D72B9B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D4D659-0521-7153-8123-6902BC786A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800" y="6172200"/>
            <a:ext cx="1551919" cy="4572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CB21ED-6938-539D-2987-F02F6135BEB3}"/>
              </a:ext>
            </a:extLst>
          </p:cNvPr>
          <p:cNvSpPr/>
          <p:nvPr userDrawn="1"/>
        </p:nvSpPr>
        <p:spPr>
          <a:xfrm>
            <a:off x="-3424" y="0"/>
            <a:ext cx="12198849" cy="1306142"/>
          </a:xfrm>
          <a:prstGeom prst="rect">
            <a:avLst/>
          </a:prstGeom>
          <a:solidFill>
            <a:srgbClr val="3B3A3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71FF7C9-CED2-F71D-35BA-31A58716D1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1540"/>
            <a:ext cx="11429999" cy="914400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D5DAB98-AAEB-D88C-C244-2B60CF7B55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45601"/>
            <a:ext cx="11277600" cy="457419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defRPr sz="1600"/>
            </a:lvl1pPr>
            <a:lvl2pPr marL="6858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–"/>
              <a:defRPr sz="1600"/>
            </a:lvl2pPr>
            <a:lvl3pPr marL="11430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&gt;"/>
              <a:defRPr sz="1600"/>
            </a:lvl3pPr>
            <a:lvl4pPr marL="16002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B3A3B"/>
              </a:buClr>
              <a:buFont typeface="Arial" panose="020B0604020202020204" pitchFamily="34" charset="0"/>
              <a:buChar char="»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0693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176">
          <p15:clr>
            <a:srgbClr val="FBAE40"/>
          </p15:clr>
        </p15:guide>
        <p15:guide id="7" pos="288">
          <p15:clr>
            <a:srgbClr val="FBAE40"/>
          </p15:clr>
        </p15:guide>
        <p15:guide id="8" pos="73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AE60A6-335F-445A-B026-2C43B939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37620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532" imgH="530" progId="TCLayout.ActiveDocument.1">
                  <p:embed/>
                </p:oleObj>
              </mc:Choice>
              <mc:Fallback>
                <p:oleObj name="think-cell Slide" r:id="rId3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6AE60A6-335F-445A-B026-2C43B939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9/18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E1F43CCD-CA29-4EED-BFA7-0946D08F0E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18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25" r:id="rId2"/>
    <p:sldLayoutId id="2147483731" r:id="rId3"/>
    <p:sldLayoutId id="2147483732" r:id="rId4"/>
    <p:sldLayoutId id="2147483728" r:id="rId5"/>
    <p:sldLayoutId id="2147483750" r:id="rId6"/>
    <p:sldLayoutId id="2147483748" r:id="rId7"/>
    <p:sldLayoutId id="2147483733" r:id="rId8"/>
    <p:sldLayoutId id="2147483746" r:id="rId9"/>
    <p:sldLayoutId id="2147483734" r:id="rId10"/>
    <p:sldLayoutId id="2147483747" r:id="rId11"/>
    <p:sldLayoutId id="2147483730" r:id="rId12"/>
    <p:sldLayoutId id="2147483707" r:id="rId13"/>
    <p:sldLayoutId id="2147483724" r:id="rId14"/>
    <p:sldLayoutId id="2147483744" r:id="rId15"/>
    <p:sldLayoutId id="2147483741" r:id="rId16"/>
    <p:sldLayoutId id="2147483745" r:id="rId17"/>
    <p:sldLayoutId id="2147483742" r:id="rId18"/>
    <p:sldLayoutId id="2147483743" r:id="rId19"/>
    <p:sldLayoutId id="2147483749" r:id="rId20"/>
    <p:sldLayoutId id="2147483735" r:id="rId21"/>
    <p:sldLayoutId id="2147483740" r:id="rId22"/>
    <p:sldLayoutId id="2147483737" r:id="rId23"/>
    <p:sldLayoutId id="2147483718" r:id="rId24"/>
    <p:sldLayoutId id="2147483738" r:id="rId25"/>
    <p:sldLayoutId id="2147483739" r:id="rId26"/>
    <p:sldLayoutId id="2147483736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2.emf"/><Relationship Id="rId9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8E7050-0F88-487E-A630-0B4C63ADF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333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8E7050-0F88-487E-A630-0B4C63ADF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CBFEF-E2D6-7425-D920-3F36537D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Layout Option 1: Gray/Left-align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CF71D-41B9-4EB8-2760-E59C4EDF89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57CD6-148E-4184-B05B-0B0D85DB3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622076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10</a:t>
            </a:fld>
            <a:endParaRPr lang="en-US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681E04-7AC5-9FAF-816C-09CD324287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: Large Blue Header with Li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A82EC9-98F2-C0FD-7B60-5043EF93A7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00197-49FF-EF62-17F4-0512A253E2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4631848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817D88-8C60-D97D-F3B3-9DCF576BF3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No Header Background/Blue Li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B22234-37EA-63F0-8ADA-AA56572BC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3AD186-AF98-7F57-04D5-3AEB16C3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AEA7A8-8019-210B-6B0E-0D2E162FB0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246339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9644AA-9A89-698C-EDF7-455468DA5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wo Columns Content Layou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4BDCB6-A80A-E386-9645-43BF96A567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EE955A-4097-91A7-E410-3C3268A3D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96D5FB-7192-1457-683B-EF4563245C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33B71F-0BB6-8095-54F7-67CBB9913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1710466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C8DF01-F6E4-ADBA-132D-6ED6FC9D6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4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9DE6A-4AE3-AE4C-307A-BC83D1A7A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096AEBE-039E-0F1A-E970-8786C35D9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Gray Background Impact Text</a:t>
            </a:r>
            <a:br>
              <a:rPr lang="en-US" dirty="0"/>
            </a:br>
            <a:r>
              <a:rPr lang="en-US" dirty="0"/>
              <a:t>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747669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C8DF01-F6E4-ADBA-132D-6ED6FC9D6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C8DF01-F6E4-ADBA-132D-6ED6FC9D6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9DE6A-4AE3-AE4C-307A-BC83D1A7A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096AEBE-039E-0F1A-E970-8786C35D9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lue Background Impact Text</a:t>
            </a:r>
            <a:br>
              <a:rPr lang="en-US" dirty="0"/>
            </a:br>
            <a:r>
              <a:rPr lang="en-US" dirty="0"/>
              <a:t>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9808057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89D08D-45E1-3539-CEFE-ACAE4A98A8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amples of U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47849C-1F33-DCCD-C278-B2C506499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6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D9073-A318-0675-B6E7-5950FF278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9CF16-6B3E-4500-52A8-5C8475983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564232"/>
            <a:ext cx="11734800" cy="80035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 We A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AE61D4C-F7E4-9E98-0FCF-3A137473695F}"/>
              </a:ext>
            </a:extLst>
          </p:cNvPr>
          <p:cNvCxnSpPr>
            <a:cxnSpLocks/>
          </p:cNvCxnSpPr>
          <p:nvPr/>
        </p:nvCxnSpPr>
        <p:spPr>
          <a:xfrm>
            <a:off x="1714500" y="2586097"/>
            <a:ext cx="8763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5827AB1-D8C2-BFCC-5212-D61E291E081C}"/>
              </a:ext>
            </a:extLst>
          </p:cNvPr>
          <p:cNvSpPr txBox="1"/>
          <p:nvPr/>
        </p:nvSpPr>
        <p:spPr>
          <a:xfrm>
            <a:off x="1333500" y="2814697"/>
            <a:ext cx="95250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 defTabSz="914400">
              <a:spcBef>
                <a:spcPts val="300"/>
              </a:spcBef>
              <a:spcAft>
                <a:spcPts val="300"/>
              </a:spcAft>
            </a:pPr>
            <a: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  <a:t>We are a consortium of regional Public Health Training Centers that collectively represent the nation’s most comprehensive resource for </a:t>
            </a:r>
            <a:b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</a:br>
            <a:r>
              <a:rPr lang="en-US" sz="3200" kern="0" dirty="0">
                <a:solidFill>
                  <a:schemeClr val="bg1"/>
                </a:solidFill>
                <a:latin typeface="+mj-lt"/>
                <a:cs typeface="Gotham"/>
              </a:rPr>
              <a:t>public health workforce development. </a:t>
            </a:r>
          </a:p>
        </p:txBody>
      </p:sp>
    </p:spTree>
    <p:extLst>
      <p:ext uri="{BB962C8B-B14F-4D97-AF65-F5344CB8AC3E}">
        <p14:creationId xmlns:p14="http://schemas.microsoft.com/office/powerpoint/2010/main" val="3567549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D9073-A318-0675-B6E7-5950FF278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9CF16-6B3E-4500-52A8-5C8475983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638045"/>
            <a:ext cx="11734800" cy="80035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 We A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F27067-8BB2-40E7-79EE-4813032BD7AF}"/>
              </a:ext>
            </a:extLst>
          </p:cNvPr>
          <p:cNvSpPr txBox="1"/>
          <p:nvPr/>
        </p:nvSpPr>
        <p:spPr>
          <a:xfrm>
            <a:off x="1581150" y="2667000"/>
            <a:ext cx="90297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 defTabSz="914400">
              <a:spcBef>
                <a:spcPts val="300"/>
              </a:spcBef>
              <a:spcAft>
                <a:spcPts val="300"/>
              </a:spcAft>
            </a:pPr>
            <a: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  <a:t>We are a consortium of regional Public Health Training Centers that collectively represent the nation’s most comprehensive resource for public health workforce development. </a:t>
            </a:r>
            <a:b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</a:br>
            <a:r>
              <a:rPr lang="en-US" sz="2400" kern="0" dirty="0">
                <a:solidFill>
                  <a:schemeClr val="bg1"/>
                </a:solidFill>
                <a:latin typeface="+mj-lt"/>
                <a:cs typeface="Gotham"/>
              </a:rPr>
              <a:t>We help sustain a skilled public health workforce by providing access to world-class professional development, experiential learning, and consulting and technical assistance.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B69EED-17E9-CF5C-8B98-7FDF4B665D0F}"/>
              </a:ext>
            </a:extLst>
          </p:cNvPr>
          <p:cNvCxnSpPr>
            <a:cxnSpLocks/>
          </p:cNvCxnSpPr>
          <p:nvPr/>
        </p:nvCxnSpPr>
        <p:spPr>
          <a:xfrm>
            <a:off x="1714500" y="2514600"/>
            <a:ext cx="8763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1728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map of the united states&#10;&#10;Description automatically generated">
            <a:extLst>
              <a:ext uri="{FF2B5EF4-FFF2-40B4-BE49-F238E27FC236}">
                <a16:creationId xmlns:a16="http://schemas.microsoft.com/office/drawing/2014/main" id="{40EF8617-4621-4D01-7D49-24B37140AF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394460"/>
            <a:ext cx="6009685" cy="406908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10D3F6-092E-7592-EFA4-052D58229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>
                <a:latin typeface="+mj-lt"/>
              </a:rPr>
              <a:pPr/>
              <a:t>18</a:t>
            </a:fld>
            <a:endParaRPr lang="en-US" dirty="0">
              <a:latin typeface="+mj-lt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C9B171C-5E6C-E883-A256-A6677ED3CB64}"/>
              </a:ext>
            </a:extLst>
          </p:cNvPr>
          <p:cNvSpPr txBox="1">
            <a:spLocks/>
          </p:cNvSpPr>
          <p:nvPr/>
        </p:nvSpPr>
        <p:spPr>
          <a:xfrm>
            <a:off x="304801" y="419507"/>
            <a:ext cx="11117184" cy="444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Regional Public Health Training Centers</a:t>
            </a:r>
          </a:p>
        </p:txBody>
      </p:sp>
      <p:graphicFrame>
        <p:nvGraphicFramePr>
          <p:cNvPr id="16" name="Table 3">
            <a:extLst>
              <a:ext uri="{FF2B5EF4-FFF2-40B4-BE49-F238E27FC236}">
                <a16:creationId xmlns:a16="http://schemas.microsoft.com/office/drawing/2014/main" id="{3B3AD0E6-40D7-E9FD-0FB6-831434B8F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996425"/>
              </p:ext>
            </p:extLst>
          </p:nvPr>
        </p:nvGraphicFramePr>
        <p:xfrm>
          <a:off x="9404209" y="859972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NEW ENGLAND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Boston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6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Connecticut, Maine, Massachusetts, </a:t>
                      </a:r>
                      <a:b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New Hampshire, Rhode Island, Vermo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7" name="Table 3">
            <a:extLst>
              <a:ext uri="{FF2B5EF4-FFF2-40B4-BE49-F238E27FC236}">
                <a16:creationId xmlns:a16="http://schemas.microsoft.com/office/drawing/2014/main" id="{A0D14A9F-78E9-EF69-D220-120E36364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571902"/>
              </p:ext>
            </p:extLst>
          </p:nvPr>
        </p:nvGraphicFramePr>
        <p:xfrm>
          <a:off x="9404209" y="1940379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44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2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Columbia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4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8FC44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New Jersey, New York, Puerto Rico, </a:t>
                      </a:r>
                      <a:b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U.S. Virgin Islan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CF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8" name="Table 3">
            <a:extLst>
              <a:ext uri="{FF2B5EF4-FFF2-40B4-BE49-F238E27FC236}">
                <a16:creationId xmlns:a16="http://schemas.microsoft.com/office/drawing/2014/main" id="{2F267467-8CFC-3CDA-A7B4-90C7D51319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678689"/>
              </p:ext>
            </p:extLst>
          </p:nvPr>
        </p:nvGraphicFramePr>
        <p:xfrm>
          <a:off x="9404209" y="2975066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-50" baseline="0" dirty="0">
                          <a:solidFill>
                            <a:schemeClr val="bg1"/>
                          </a:solidFill>
                          <a:latin typeface="+mj-lt"/>
                        </a:rPr>
                        <a:t>MID-ATLANTIC REGIONAL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Pittsbur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5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Delaware, District of Columbia, Maryland, Pennsylvania, Virginia, West Virgin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FF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19" name="Table 3">
            <a:extLst>
              <a:ext uri="{FF2B5EF4-FFF2-40B4-BE49-F238E27FC236}">
                <a16:creationId xmlns:a16="http://schemas.microsoft.com/office/drawing/2014/main" id="{31BEDA5B-555C-1A1E-DA71-B52916C3BA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02195"/>
              </p:ext>
            </p:extLst>
          </p:nvPr>
        </p:nvGraphicFramePr>
        <p:xfrm>
          <a:off x="9404209" y="4055473"/>
          <a:ext cx="2512403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9F2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IV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Emory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9F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F89F2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Alabama, Florida, Georgia, Kentucky, Mississippi, North Carolina, South Carolina, Tennesse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A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0" name="Table 3">
            <a:extLst>
              <a:ext uri="{FF2B5EF4-FFF2-40B4-BE49-F238E27FC236}">
                <a16:creationId xmlns:a16="http://schemas.microsoft.com/office/drawing/2014/main" id="{E4B0B9E5-3811-8AF5-46CF-337404385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115783"/>
              </p:ext>
            </p:extLst>
          </p:nvPr>
        </p:nvGraphicFramePr>
        <p:xfrm>
          <a:off x="9404209" y="5135880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EGION V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Michig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1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Illinois, Indiana, Michigan, Minnesota, Ohio, Wisconsi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B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1" name="Table 3">
            <a:extLst>
              <a:ext uri="{FF2B5EF4-FFF2-40B4-BE49-F238E27FC236}">
                <a16:creationId xmlns:a16="http://schemas.microsoft.com/office/drawing/2014/main" id="{3AE98FC0-589D-4F8E-C52D-2177346556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770265"/>
              </p:ext>
            </p:extLst>
          </p:nvPr>
        </p:nvGraphicFramePr>
        <p:xfrm>
          <a:off x="328447" y="859972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53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SOUTH CENTRAL PHTC</a:t>
                      </a:r>
                      <a:br>
                        <a:rPr lang="en-US" sz="1000" b="0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Tulane Univers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53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F05346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fi-FI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Arkansas, Louisiana, New Mexico,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Oklahoma, Texa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B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E53D5F0F-C381-8019-B81D-AB6B545BB6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078133"/>
              </p:ext>
            </p:extLst>
          </p:nvPr>
        </p:nvGraphicFramePr>
        <p:xfrm>
          <a:off x="328447" y="1928949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1E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MIDWESTERN PHTC</a:t>
                      </a:r>
                      <a:br>
                        <a:rPr lang="en-US" sz="1000" b="0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Iow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1E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BF1E6C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Iowa, Kansas, Missouri, Nebrask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8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3" name="Table 3">
            <a:extLst>
              <a:ext uri="{FF2B5EF4-FFF2-40B4-BE49-F238E27FC236}">
                <a16:creationId xmlns:a16="http://schemas.microsoft.com/office/drawing/2014/main" id="{BBDE2F1F-0E44-2DF5-EFFB-2CC9B336A8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277382"/>
              </p:ext>
            </p:extLst>
          </p:nvPr>
        </p:nvGraphicFramePr>
        <p:xfrm>
          <a:off x="328447" y="2997926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ROCKY MOUNTAIN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Colorad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4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Colorado, Montana, North Dakota, </a:t>
                      </a:r>
                      <a:b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j-lt"/>
                        </a:rPr>
                        <a:t>South Dakota, Utah, Wyom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7F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4" name="Table 3">
            <a:extLst>
              <a:ext uri="{FF2B5EF4-FFF2-40B4-BE49-F238E27FC236}">
                <a16:creationId xmlns:a16="http://schemas.microsoft.com/office/drawing/2014/main" id="{7F5560D6-5D79-2249-313C-6635D4438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892740"/>
              </p:ext>
            </p:extLst>
          </p:nvPr>
        </p:nvGraphicFramePr>
        <p:xfrm>
          <a:off x="328447" y="4066903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WESTERN REGION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Arizo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tx2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izona, California, Hawaii, Nevada, </a:t>
                      </a:r>
                      <a:b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.S. Affiliated Pacific Islan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4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  <p:graphicFrame>
        <p:nvGraphicFramePr>
          <p:cNvPr id="25" name="Table 3">
            <a:extLst>
              <a:ext uri="{FF2B5EF4-FFF2-40B4-BE49-F238E27FC236}">
                <a16:creationId xmlns:a16="http://schemas.microsoft.com/office/drawing/2014/main" id="{0B9112FE-4DDA-5622-8D74-1B5FCBA1FC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127767"/>
              </p:ext>
            </p:extLst>
          </p:nvPr>
        </p:nvGraphicFramePr>
        <p:xfrm>
          <a:off x="328447" y="5135880"/>
          <a:ext cx="2512403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896248890"/>
                    </a:ext>
                  </a:extLst>
                </a:gridCol>
                <a:gridCol w="2146643">
                  <a:extLst>
                    <a:ext uri="{9D8B030D-6E8A-4147-A177-3AD203B41FA5}">
                      <a16:colId xmlns:a16="http://schemas.microsoft.com/office/drawing/2014/main" val="1250236946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12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000" b="1" spc="-20" baseline="0" dirty="0">
                          <a:solidFill>
                            <a:schemeClr val="bg1"/>
                          </a:solidFill>
                          <a:latin typeface="+mj-lt"/>
                        </a:rPr>
                        <a:t>NORTHWEST PHTC</a:t>
                      </a:r>
                      <a:b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000" b="1" spc="0" baseline="0" dirty="0">
                          <a:solidFill>
                            <a:schemeClr val="bg1"/>
                          </a:solidFill>
                          <a:latin typeface="+mj-lt"/>
                        </a:rPr>
                        <a:t>University of Washingt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8068"/>
                  </a:ext>
                </a:extLst>
              </a:tr>
              <a:tr h="50292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chemeClr val="accent3"/>
                        </a:buClr>
                        <a:buFont typeface="Gotham" panose="02000504020000020004" pitchFamily="2" charset="0"/>
                        <a:buNone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aska, Idaho, Oregon, Washingt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F0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51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37455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10D3F6-092E-7592-EFA4-052D58229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>
                <a:latin typeface="+mj-lt"/>
              </a:rPr>
              <a:pPr/>
              <a:t>19</a:t>
            </a:fld>
            <a:endParaRPr lang="en-US" dirty="0">
              <a:latin typeface="+mj-lt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C9B171C-5E6C-E883-A256-A6677ED3CB64}"/>
              </a:ext>
            </a:extLst>
          </p:cNvPr>
          <p:cNvSpPr txBox="1">
            <a:spLocks/>
          </p:cNvSpPr>
          <p:nvPr/>
        </p:nvSpPr>
        <p:spPr>
          <a:xfrm>
            <a:off x="304801" y="419507"/>
            <a:ext cx="11117184" cy="444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Regional Public Health Training Centers</a:t>
            </a:r>
          </a:p>
        </p:txBody>
      </p:sp>
      <p:pic>
        <p:nvPicPr>
          <p:cNvPr id="4" name="Picture 3" descr="A map of the united states&#10;&#10;Description automatically generated">
            <a:extLst>
              <a:ext uri="{FF2B5EF4-FFF2-40B4-BE49-F238E27FC236}">
                <a16:creationId xmlns:a16="http://schemas.microsoft.com/office/drawing/2014/main" id="{0CA19EA3-B0B1-9D0F-C76E-D485DC40D3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8645" y="1066800"/>
            <a:ext cx="7454710" cy="504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208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8E7050-0F88-487E-A630-0B4C63ADF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2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8E7050-0F88-487E-A630-0B4C63ADF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1CBFEF-E2D6-7425-D920-3F36537D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Layout Option 2: Blue/Left-align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CF71D-41B9-4EB8-2760-E59C4EDF89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57CD6-148E-4184-B05B-0B0D85DB3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050522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7F86E86-1609-D5E5-9359-C48BE52E85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7F86E86-1609-D5E5-9359-C48BE52E8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A1FF5D-C7A9-6AF5-6D31-6A96342699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do we do?</a:t>
            </a:r>
          </a:p>
        </p:txBody>
      </p:sp>
      <p:sp>
        <p:nvSpPr>
          <p:cNvPr id="1059" name="Text Placeholder 1058">
            <a:extLst>
              <a:ext uri="{FF2B5EF4-FFF2-40B4-BE49-F238E27FC236}">
                <a16:creationId xmlns:a16="http://schemas.microsoft.com/office/drawing/2014/main" id="{876A1488-FF09-483F-0E27-149CB3C900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E28DC-A06C-0B45-3988-297BA9C6F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E2B679-2F83-4503-7B50-4D8A7FE476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11715"/>
            <a:ext cx="11277600" cy="525960"/>
          </a:xfrm>
        </p:spPr>
        <p:txBody>
          <a:bodyPr anchor="ctr" anchorCtr="0">
            <a:noAutofit/>
          </a:bodyPr>
          <a:lstStyle/>
          <a:p>
            <a:pPr marL="0" indent="0" algn="ctr">
              <a:lnSpc>
                <a:spcPct val="110000"/>
              </a:lnSpc>
              <a:buNone/>
            </a:pPr>
            <a:r>
              <a:rPr lang="en-US" sz="1600" b="1" dirty="0">
                <a:solidFill>
                  <a:schemeClr val="tx2"/>
                </a:solidFill>
              </a:rPr>
              <a:t>The Public Health Training Center Network (PHTCN) helps sustain a skilled public health workforce by providing access to world-class professional development, experiential learning, and consulting and technical assistance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4CF75D6-1F93-878B-01C9-032206E5668F}"/>
              </a:ext>
            </a:extLst>
          </p:cNvPr>
          <p:cNvGrpSpPr/>
          <p:nvPr/>
        </p:nvGrpSpPr>
        <p:grpSpPr>
          <a:xfrm>
            <a:off x="838200" y="3526910"/>
            <a:ext cx="10870421" cy="1160666"/>
            <a:chOff x="838200" y="3526910"/>
            <a:chExt cx="10870421" cy="1160666"/>
          </a:xfrm>
        </p:grpSpPr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DA99AA91-C361-BDF1-01F1-C4EEC72C783D}"/>
                </a:ext>
              </a:extLst>
            </p:cNvPr>
            <p:cNvSpPr txBox="1"/>
            <p:nvPr/>
          </p:nvSpPr>
          <p:spPr>
            <a:xfrm>
              <a:off x="4130278" y="3814856"/>
              <a:ext cx="757834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help students gain valuable practical experience through funded field placements at agencies in underserved communities. 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405175-A258-0FF8-53DA-BBFB1364ACE0}"/>
                </a:ext>
              </a:extLst>
            </p:cNvPr>
            <p:cNvGrpSpPr/>
            <p:nvPr/>
          </p:nvGrpSpPr>
          <p:grpSpPr>
            <a:xfrm>
              <a:off x="838200" y="3526910"/>
              <a:ext cx="3124198" cy="1160666"/>
              <a:chOff x="838200" y="3526910"/>
              <a:chExt cx="3124198" cy="1160666"/>
            </a:xfrm>
          </p:grpSpPr>
          <p:sp>
            <p:nvSpPr>
              <p:cNvPr id="31" name="Arrow: Pentagon 30">
                <a:extLst>
                  <a:ext uri="{FF2B5EF4-FFF2-40B4-BE49-F238E27FC236}">
                    <a16:creationId xmlns:a16="http://schemas.microsoft.com/office/drawing/2014/main" id="{57E08D85-E029-A7E5-EED0-573F8BD9B71A}"/>
                  </a:ext>
                </a:extLst>
              </p:cNvPr>
              <p:cNvSpPr/>
              <p:nvPr/>
            </p:nvSpPr>
            <p:spPr>
              <a:xfrm>
                <a:off x="838200" y="3535432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4" name="Text Placeholder 4">
                <a:extLst>
                  <a:ext uri="{FF2B5EF4-FFF2-40B4-BE49-F238E27FC236}">
                    <a16:creationId xmlns:a16="http://schemas.microsoft.com/office/drawing/2014/main" id="{AD5D8C46-1314-C97B-7D54-30D813BDFD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8" y="3833938"/>
                <a:ext cx="1508518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Experiential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Learning</a:t>
                </a:r>
              </a:p>
            </p:txBody>
          </p:sp>
          <p:grpSp>
            <p:nvGrpSpPr>
              <p:cNvPr id="1025" name="object 9">
                <a:extLst>
                  <a:ext uri="{FF2B5EF4-FFF2-40B4-BE49-F238E27FC236}">
                    <a16:creationId xmlns:a16="http://schemas.microsoft.com/office/drawing/2014/main" id="{5B688E80-67F7-773D-FDB8-CB9A0139A652}"/>
                  </a:ext>
                </a:extLst>
              </p:cNvPr>
              <p:cNvGrpSpPr/>
              <p:nvPr/>
            </p:nvGrpSpPr>
            <p:grpSpPr>
              <a:xfrm rot="5400000">
                <a:off x="3153764" y="3878341"/>
                <a:ext cx="1160065" cy="457203"/>
                <a:chOff x="560759" y="2417698"/>
                <a:chExt cx="844077" cy="325756"/>
              </a:xfrm>
            </p:grpSpPr>
            <p:sp>
              <p:nvSpPr>
                <p:cNvPr id="1029" name="object 10">
                  <a:extLst>
                    <a:ext uri="{FF2B5EF4-FFF2-40B4-BE49-F238E27FC236}">
                      <a16:creationId xmlns:a16="http://schemas.microsoft.com/office/drawing/2014/main" id="{74D6B2CA-7BB0-3B05-8164-0A0314729059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30" name="object 11">
                  <a:extLst>
                    <a:ext uri="{FF2B5EF4-FFF2-40B4-BE49-F238E27FC236}">
                      <a16:creationId xmlns:a16="http://schemas.microsoft.com/office/drawing/2014/main" id="{A0F23C1F-9543-E04C-5CDA-0D22E357FD8A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31" name="object 12">
                  <a:extLst>
                    <a:ext uri="{FF2B5EF4-FFF2-40B4-BE49-F238E27FC236}">
                      <a16:creationId xmlns:a16="http://schemas.microsoft.com/office/drawing/2014/main" id="{B9759B73-5282-06DC-5371-A3999EF497E0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028" name="Straight Connector 1027">
                <a:extLst>
                  <a:ext uri="{FF2B5EF4-FFF2-40B4-BE49-F238E27FC236}">
                    <a16:creationId xmlns:a16="http://schemas.microsoft.com/office/drawing/2014/main" id="{A422D9AF-26A8-4FF4-63A6-13787B47A4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3699723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1" name="Graphic 1050" descr="Graduation cap with solid fill">
                <a:extLst>
                  <a:ext uri="{FF2B5EF4-FFF2-40B4-BE49-F238E27FC236}">
                    <a16:creationId xmlns:a16="http://schemas.microsoft.com/office/drawing/2014/main" id="{3D614E41-39B6-7214-31ED-8C981F487C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2766053" y="3820974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1C2026FB-1ECE-32EE-E77F-CE6F817DAA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3535432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DC322C2-2D04-48D1-94FC-EFC51F22E060}"/>
              </a:ext>
            </a:extLst>
          </p:cNvPr>
          <p:cNvGrpSpPr/>
          <p:nvPr/>
        </p:nvGrpSpPr>
        <p:grpSpPr>
          <a:xfrm>
            <a:off x="838200" y="2194084"/>
            <a:ext cx="10870421" cy="1160666"/>
            <a:chOff x="838200" y="2194084"/>
            <a:chExt cx="10870421" cy="1160666"/>
          </a:xfrm>
        </p:grpSpPr>
        <p:sp>
          <p:nvSpPr>
            <p:cNvPr id="1044" name="TextBox 1043">
              <a:extLst>
                <a:ext uri="{FF2B5EF4-FFF2-40B4-BE49-F238E27FC236}">
                  <a16:creationId xmlns:a16="http://schemas.microsoft.com/office/drawing/2014/main" id="{CEAD0F19-D3CF-B961-3D26-87EF9BC91F89}"/>
                </a:ext>
              </a:extLst>
            </p:cNvPr>
            <p:cNvSpPr txBox="1"/>
            <p:nvPr/>
          </p:nvSpPr>
          <p:spPr>
            <a:xfrm>
              <a:off x="4130278" y="2366897"/>
              <a:ext cx="757834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offer a comprehensive set of resources to help public health professionals build core skills and strategic competencies required to address current and emerging public health challenges. 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D5C5F2-6836-51CA-E7BD-EE165D13759B}"/>
                </a:ext>
              </a:extLst>
            </p:cNvPr>
            <p:cNvGrpSpPr/>
            <p:nvPr/>
          </p:nvGrpSpPr>
          <p:grpSpPr>
            <a:xfrm>
              <a:off x="838200" y="2194084"/>
              <a:ext cx="3124198" cy="1160666"/>
              <a:chOff x="838200" y="2194084"/>
              <a:chExt cx="3124198" cy="1160666"/>
            </a:xfrm>
          </p:grpSpPr>
          <p:sp>
            <p:nvSpPr>
              <p:cNvPr id="1036" name="Arrow: Pentagon 1035">
                <a:extLst>
                  <a:ext uri="{FF2B5EF4-FFF2-40B4-BE49-F238E27FC236}">
                    <a16:creationId xmlns:a16="http://schemas.microsoft.com/office/drawing/2014/main" id="{04917D1E-08F8-006B-B33B-40C29937A251}"/>
                  </a:ext>
                </a:extLst>
              </p:cNvPr>
              <p:cNvSpPr/>
              <p:nvPr/>
            </p:nvSpPr>
            <p:spPr>
              <a:xfrm>
                <a:off x="838200" y="2202606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037" name="Text Placeholder 4">
                <a:extLst>
                  <a:ext uri="{FF2B5EF4-FFF2-40B4-BE49-F238E27FC236}">
                    <a16:creationId xmlns:a16="http://schemas.microsoft.com/office/drawing/2014/main" id="{3AEFA7CD-142C-5385-17F0-E0F7886ACD1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7" y="2501112"/>
                <a:ext cx="1485895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Professional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Development</a:t>
                </a:r>
              </a:p>
            </p:txBody>
          </p:sp>
          <p:grpSp>
            <p:nvGrpSpPr>
              <p:cNvPr id="1038" name="object 9">
                <a:extLst>
                  <a:ext uri="{FF2B5EF4-FFF2-40B4-BE49-F238E27FC236}">
                    <a16:creationId xmlns:a16="http://schemas.microsoft.com/office/drawing/2014/main" id="{55CFB6B6-8F3F-C0C4-33D5-ACA05B1CE27B}"/>
                  </a:ext>
                </a:extLst>
              </p:cNvPr>
              <p:cNvGrpSpPr/>
              <p:nvPr/>
            </p:nvGrpSpPr>
            <p:grpSpPr>
              <a:xfrm rot="5400000">
                <a:off x="3153764" y="2545515"/>
                <a:ext cx="1160065" cy="457203"/>
                <a:chOff x="560759" y="2417698"/>
                <a:chExt cx="844077" cy="325756"/>
              </a:xfrm>
            </p:grpSpPr>
            <p:sp>
              <p:nvSpPr>
                <p:cNvPr id="1041" name="object 10">
                  <a:extLst>
                    <a:ext uri="{FF2B5EF4-FFF2-40B4-BE49-F238E27FC236}">
                      <a16:creationId xmlns:a16="http://schemas.microsoft.com/office/drawing/2014/main" id="{8415B9F3-31FD-FFAA-E66C-6ED3F21DA4D2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42" name="object 11">
                  <a:extLst>
                    <a:ext uri="{FF2B5EF4-FFF2-40B4-BE49-F238E27FC236}">
                      <a16:creationId xmlns:a16="http://schemas.microsoft.com/office/drawing/2014/main" id="{6F63AFB4-62D1-4AF7-9B1E-4B0944672D81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043" name="object 12">
                  <a:extLst>
                    <a:ext uri="{FF2B5EF4-FFF2-40B4-BE49-F238E27FC236}">
                      <a16:creationId xmlns:a16="http://schemas.microsoft.com/office/drawing/2014/main" id="{2085343F-8AA3-67D5-C5D1-695E918D2B36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BCAD6FB5-B7EF-E123-D406-C186452FFA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2366897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0" name="Graphic 1049" descr="Rocket with solid fill">
                <a:extLst>
                  <a:ext uri="{FF2B5EF4-FFF2-40B4-BE49-F238E27FC236}">
                    <a16:creationId xmlns:a16="http://schemas.microsoft.com/office/drawing/2014/main" id="{194D6B10-87A8-E3B8-ED33-2A104E1C12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766053" y="2531189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92B263B-D9AD-44D0-2E2A-49777AEE59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2202606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2918B52-0B43-F4BD-42FB-53AA53C0528C}"/>
              </a:ext>
            </a:extLst>
          </p:cNvPr>
          <p:cNvGrpSpPr/>
          <p:nvPr/>
        </p:nvGrpSpPr>
        <p:grpSpPr>
          <a:xfrm>
            <a:off x="838200" y="4859735"/>
            <a:ext cx="10870421" cy="1160065"/>
            <a:chOff x="838200" y="4859735"/>
            <a:chExt cx="10870421" cy="1160065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5514243-4554-C469-22E9-BEA4545E1401}"/>
                </a:ext>
              </a:extLst>
            </p:cNvPr>
            <p:cNvSpPr txBox="1"/>
            <p:nvPr/>
          </p:nvSpPr>
          <p:spPr>
            <a:xfrm>
              <a:off x="4130279" y="5147380"/>
              <a:ext cx="757834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We provide access to expertise and other resources that help our community partners understand and plan for local workforce development needs. 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4769A12-2D3D-A7A5-346A-91D97749595E}"/>
                </a:ext>
              </a:extLst>
            </p:cNvPr>
            <p:cNvGrpSpPr/>
            <p:nvPr/>
          </p:nvGrpSpPr>
          <p:grpSpPr>
            <a:xfrm>
              <a:off x="838200" y="4859735"/>
              <a:ext cx="3124198" cy="1160065"/>
              <a:chOff x="838200" y="4859735"/>
              <a:chExt cx="3124198" cy="1160065"/>
            </a:xfrm>
          </p:grpSpPr>
          <p:sp>
            <p:nvSpPr>
              <p:cNvPr id="14" name="Arrow: Pentagon 13">
                <a:extLst>
                  <a:ext uri="{FF2B5EF4-FFF2-40B4-BE49-F238E27FC236}">
                    <a16:creationId xmlns:a16="http://schemas.microsoft.com/office/drawing/2014/main" id="{6C6A1821-6A23-8DD4-08D3-135B9558DA76}"/>
                  </a:ext>
                </a:extLst>
              </p:cNvPr>
              <p:cNvSpPr/>
              <p:nvPr/>
            </p:nvSpPr>
            <p:spPr>
              <a:xfrm>
                <a:off x="838200" y="4868257"/>
                <a:ext cx="2957538" cy="1151542"/>
              </a:xfrm>
              <a:prstGeom prst="homePlate">
                <a:avLst>
                  <a:gd name="adj" fmla="val 24158"/>
                </a:avLst>
              </a:prstGeom>
              <a:solidFill>
                <a:srgbClr val="EBF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ext Placeholder 4">
                <a:extLst>
                  <a:ext uri="{FF2B5EF4-FFF2-40B4-BE49-F238E27FC236}">
                    <a16:creationId xmlns:a16="http://schemas.microsoft.com/office/drawing/2014/main" id="{1F7BBDDE-4BA2-2412-6451-7C3B6B1B3ED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7478" y="5166763"/>
                <a:ext cx="1649522" cy="580358"/>
              </a:xfrm>
              <a:prstGeom prst="rect">
                <a:avLst/>
              </a:prstGeom>
            </p:spPr>
            <p:txBody>
              <a:bodyPr vert="horz" lIns="91440" tIns="45720" rIns="91440" bIns="45720" rtlCol="0" anchor="ctr" anchorCtr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Font typeface="Arial" panose="020B0604020202020204" pitchFamily="34" charset="0"/>
                  <a:buChar char="»"/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600" b="1" dirty="0">
                    <a:solidFill>
                      <a:schemeClr val="tx2"/>
                    </a:solidFill>
                  </a:rPr>
                  <a:t>Consulting </a:t>
                </a:r>
                <a:br>
                  <a:rPr lang="en-US" sz="1600" b="1" dirty="0">
                    <a:solidFill>
                      <a:schemeClr val="tx2"/>
                    </a:solidFill>
                  </a:rPr>
                </a:br>
                <a:r>
                  <a:rPr lang="en-US" sz="1600" b="1" dirty="0">
                    <a:solidFill>
                      <a:schemeClr val="tx2"/>
                    </a:solidFill>
                  </a:rPr>
                  <a:t>and Technical Assistance</a:t>
                </a:r>
              </a:p>
            </p:txBody>
          </p:sp>
          <p:grpSp>
            <p:nvGrpSpPr>
              <p:cNvPr id="10" name="object 9">
                <a:extLst>
                  <a:ext uri="{FF2B5EF4-FFF2-40B4-BE49-F238E27FC236}">
                    <a16:creationId xmlns:a16="http://schemas.microsoft.com/office/drawing/2014/main" id="{7E033568-73E0-F7FB-D478-3339B3F09553}"/>
                  </a:ext>
                </a:extLst>
              </p:cNvPr>
              <p:cNvGrpSpPr/>
              <p:nvPr/>
            </p:nvGrpSpPr>
            <p:grpSpPr>
              <a:xfrm rot="5400000">
                <a:off x="3153764" y="5211166"/>
                <a:ext cx="1160065" cy="457203"/>
                <a:chOff x="560759" y="2417698"/>
                <a:chExt cx="844077" cy="325756"/>
              </a:xfrm>
            </p:grpSpPr>
            <p:sp>
              <p:nvSpPr>
                <p:cNvPr id="11" name="object 10">
                  <a:extLst>
                    <a:ext uri="{FF2B5EF4-FFF2-40B4-BE49-F238E27FC236}">
                      <a16:creationId xmlns:a16="http://schemas.microsoft.com/office/drawing/2014/main" id="{4241A274-45F5-5C0A-9C91-9B28B36BAEB6}"/>
                    </a:ext>
                  </a:extLst>
                </p:cNvPr>
                <p:cNvSpPr/>
                <p:nvPr/>
              </p:nvSpPr>
              <p:spPr>
                <a:xfrm>
                  <a:off x="982561" y="2417698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112610" y="0"/>
                      </a:moveTo>
                      <a:lnTo>
                        <a:pt x="0" y="118554"/>
                      </a:lnTo>
                      <a:lnTo>
                        <a:pt x="196570" y="325488"/>
                      </a:lnTo>
                      <a:lnTo>
                        <a:pt x="421805" y="325488"/>
                      </a:lnTo>
                      <a:lnTo>
                        <a:pt x="112610" y="0"/>
                      </a:lnTo>
                      <a:close/>
                    </a:path>
                  </a:pathLst>
                </a:custGeom>
                <a:solidFill>
                  <a:srgbClr val="00AEE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2" name="object 11">
                  <a:extLst>
                    <a:ext uri="{FF2B5EF4-FFF2-40B4-BE49-F238E27FC236}">
                      <a16:creationId xmlns:a16="http://schemas.microsoft.com/office/drawing/2014/main" id="{3398B575-96FD-E430-C460-910F50B12DB4}"/>
                    </a:ext>
                  </a:extLst>
                </p:cNvPr>
                <p:cNvSpPr/>
                <p:nvPr/>
              </p:nvSpPr>
              <p:spPr>
                <a:xfrm>
                  <a:off x="560759" y="2417700"/>
                  <a:ext cx="422275" cy="325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275" h="325755">
                      <a:moveTo>
                        <a:pt x="309194" y="0"/>
                      </a:moveTo>
                      <a:lnTo>
                        <a:pt x="0" y="325488"/>
                      </a:lnTo>
                      <a:lnTo>
                        <a:pt x="225234" y="325488"/>
                      </a:lnTo>
                      <a:lnTo>
                        <a:pt x="421805" y="118554"/>
                      </a:lnTo>
                      <a:lnTo>
                        <a:pt x="309194" y="0"/>
                      </a:lnTo>
                      <a:close/>
                    </a:path>
                  </a:pathLst>
                </a:custGeom>
                <a:solidFill>
                  <a:srgbClr val="0082C6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3" name="object 12">
                  <a:extLst>
                    <a:ext uri="{FF2B5EF4-FFF2-40B4-BE49-F238E27FC236}">
                      <a16:creationId xmlns:a16="http://schemas.microsoft.com/office/drawing/2014/main" id="{BA15F8EC-56AE-A701-4234-8120D968B11C}"/>
                    </a:ext>
                  </a:extLst>
                </p:cNvPr>
                <p:cNvSpPr/>
                <p:nvPr/>
              </p:nvSpPr>
              <p:spPr>
                <a:xfrm>
                  <a:off x="869952" y="2417705"/>
                  <a:ext cx="225425" cy="118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425" h="118744">
                      <a:moveTo>
                        <a:pt x="225221" y="0"/>
                      </a:moveTo>
                      <a:lnTo>
                        <a:pt x="0" y="0"/>
                      </a:lnTo>
                      <a:lnTo>
                        <a:pt x="112610" y="118554"/>
                      </a:lnTo>
                      <a:lnTo>
                        <a:pt x="225221" y="0"/>
                      </a:lnTo>
                      <a:close/>
                    </a:path>
                  </a:pathLst>
                </a:custGeom>
                <a:solidFill>
                  <a:srgbClr val="0069AD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F19110C2-21D8-C360-5AD7-FCEC6F5631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2426" y="5032548"/>
                <a:ext cx="0" cy="82296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2" name="Graphic 1051" descr="Single gear with solid fill">
                <a:extLst>
                  <a:ext uri="{FF2B5EF4-FFF2-40B4-BE49-F238E27FC236}">
                    <a16:creationId xmlns:a16="http://schemas.microsoft.com/office/drawing/2014/main" id="{4DE360CB-E919-27FA-4275-FE6D8779E0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2766053" y="5149260"/>
                <a:ext cx="548640" cy="548640"/>
              </a:xfrm>
              <a:prstGeom prst="rect">
                <a:avLst/>
              </a:prstGeom>
            </p:spPr>
          </p:pic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CAC32A19-E5BB-0CE4-E70E-F8D0D3E82F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4867655"/>
                <a:ext cx="0" cy="115214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12529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159855-5788-1276-4B81-B35E4FFAAA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 dirty="0"/>
              <a:t>Who do we serve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43F9CF-DB57-476D-78BA-B9799FC304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5DB7D-32CB-DA30-1AF0-4ED5C340B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1468243-EFED-DC5C-5A58-C3C3A00619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411715"/>
            <a:ext cx="11277600" cy="525960"/>
          </a:xfrm>
        </p:spPr>
        <p:txBody>
          <a:bodyPr anchor="ctr" anchorCtr="0">
            <a:noAutofit/>
          </a:bodyPr>
          <a:lstStyle/>
          <a:p>
            <a:pPr marL="0" indent="0" algn="ctr">
              <a:lnSpc>
                <a:spcPct val="110000"/>
              </a:lnSpc>
              <a:buNone/>
            </a:pPr>
            <a:r>
              <a:rPr lang="en-US" sz="1600" b="1" dirty="0">
                <a:solidFill>
                  <a:schemeClr val="tx2"/>
                </a:solidFill>
              </a:rPr>
              <a:t>While our work is far-reaching and our impact broad, our marketing and communications are focused </a:t>
            </a:r>
            <a:br>
              <a:rPr lang="en-US" sz="1600" b="1" dirty="0">
                <a:solidFill>
                  <a:schemeClr val="tx2"/>
                </a:solidFill>
              </a:rPr>
            </a:br>
            <a:r>
              <a:rPr lang="en-US" sz="1600" b="1" dirty="0">
                <a:solidFill>
                  <a:schemeClr val="tx2"/>
                </a:solidFill>
              </a:rPr>
              <a:t>on four key audience segments: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7144999-F521-90C4-1B80-E4DEDE5400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332048"/>
              </p:ext>
            </p:extLst>
          </p:nvPr>
        </p:nvGraphicFramePr>
        <p:xfrm>
          <a:off x="952501" y="2153838"/>
          <a:ext cx="10286999" cy="3789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95067">
                  <a:extLst>
                    <a:ext uri="{9D8B030D-6E8A-4147-A177-3AD203B41FA5}">
                      <a16:colId xmlns:a16="http://schemas.microsoft.com/office/drawing/2014/main" val="3672127399"/>
                    </a:ext>
                  </a:extLst>
                </a:gridCol>
                <a:gridCol w="2085202">
                  <a:extLst>
                    <a:ext uri="{9D8B030D-6E8A-4147-A177-3AD203B41FA5}">
                      <a16:colId xmlns:a16="http://schemas.microsoft.com/office/drawing/2014/main" val="1002575963"/>
                    </a:ext>
                  </a:extLst>
                </a:gridCol>
                <a:gridCol w="7506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4744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tudent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Your PHTC is your source for relevant, fulfilling, funded field placement opportunities —regionally and nationwide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ublic Health Professional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Your PHTC is your source for free, high-quality training and support that meets your individual, organizational, and regional needs—provided directly or through the nationwide Public Health Training Center Network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Funder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PHTCN’s unique blend of local relevance and national breadth play a vital role in building and sustaining a strong workforce. 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61504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Partners and Peers</a:t>
                      </a:r>
                    </a:p>
                  </a:txBody>
                  <a:tcPr marL="18288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PHTCN’s unique blend of local relevance and national breadth make us key partners in building and sustaining a strong workforce. 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17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73490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5DB7D-32CB-DA30-1AF0-4ED5C340B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159855-5788-1276-4B81-B35E4FFAAA1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37369" y="851978"/>
            <a:ext cx="11117263" cy="457200"/>
          </a:xfrm>
        </p:spPr>
        <p:txBody>
          <a:bodyPr anchor="ctr" anchorCtr="0">
            <a:noAutofit/>
          </a:bodyPr>
          <a:lstStyle/>
          <a:p>
            <a:pPr marL="0" indent="0" algn="ctr">
              <a:buNone/>
            </a:pPr>
            <a:r>
              <a:rPr lang="en-US" sz="3200" b="1" dirty="0">
                <a:solidFill>
                  <a:schemeClr val="tx2"/>
                </a:solidFill>
              </a:rPr>
              <a:t>Why choose/support/partner with the PHTCN?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8C10528-C273-8934-499E-0069D42B69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537516"/>
              </p:ext>
            </p:extLst>
          </p:nvPr>
        </p:nvGraphicFramePr>
        <p:xfrm>
          <a:off x="457200" y="2176087"/>
          <a:ext cx="11277600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9200">
                  <a:extLst>
                    <a:ext uri="{9D8B030D-6E8A-4147-A177-3AD203B41FA5}">
                      <a16:colId xmlns:a16="http://schemas.microsoft.com/office/drawing/2014/main" val="3716233806"/>
                    </a:ext>
                  </a:extLst>
                </a:gridCol>
                <a:gridCol w="3759200">
                  <a:extLst>
                    <a:ext uri="{9D8B030D-6E8A-4147-A177-3AD203B41FA5}">
                      <a16:colId xmlns:a16="http://schemas.microsoft.com/office/drawing/2014/main" val="3491451694"/>
                    </a:ext>
                  </a:extLst>
                </a:gridCol>
                <a:gridCol w="3759200">
                  <a:extLst>
                    <a:ext uri="{9D8B030D-6E8A-4147-A177-3AD203B41FA5}">
                      <a16:colId xmlns:a16="http://schemas.microsoft.com/office/drawing/2014/main" val="41662106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</a:rPr>
                        <a:t>COMPREHENSIVE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  <a:cs typeface="Gotham"/>
                        </a:rPr>
                        <a:t>RELEVANT</a:t>
                      </a:r>
                    </a:p>
                  </a:txBody>
                  <a:tcPr marL="137160" marR="137160" marT="137160" marB="13716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5080" algn="ctr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800" b="1" kern="0" dirty="0">
                          <a:solidFill>
                            <a:schemeClr val="bg1"/>
                          </a:solidFill>
                          <a:latin typeface="+mj-lt"/>
                          <a:cs typeface="Gotham"/>
                        </a:rPr>
                        <a:t>TRUSTED</a:t>
                      </a:r>
                    </a:p>
                  </a:txBody>
                  <a:tcPr marL="137160" marR="137160" marT="137160" marB="13716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754873"/>
                  </a:ext>
                </a:extLst>
              </a:tr>
              <a:tr h="3108960"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Breadth of content areas and learning modalitie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Skills and strategy training for all experience level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Access to high quality resources and best practices across a vibrant network of national and regional workforce development partners</a:t>
                      </a:r>
                    </a:p>
                    <a:p>
                      <a:endParaRPr lang="en-US" sz="1400" b="0" dirty="0">
                        <a:solidFill>
                          <a:srgbClr val="3B3A3B"/>
                        </a:solidFill>
                        <a:latin typeface="+mj-lt"/>
                      </a:endParaRPr>
                    </a:p>
                    <a:p>
                      <a:endParaRPr lang="en-US" sz="1400" b="0" dirty="0">
                        <a:solidFill>
                          <a:srgbClr val="3B3A3B"/>
                        </a:solidFill>
                        <a:latin typeface="+mj-lt"/>
                      </a:endParaRPr>
                    </a:p>
                  </a:txBody>
                  <a:tcPr marL="182880" marR="182880" marT="137160" marB="13716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Responsive professionals who understand your goals and challenge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Programs designed to meet the specific needs of each region and workforce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Timely evidence-based information on critical public health issues, especially racial and health equity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Informed by expert, inclusive, ongoing needs assessment</a:t>
                      </a:r>
                    </a:p>
                  </a:txBody>
                  <a:tcPr marL="182880" marR="182880" marT="137160" marB="13716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/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High levels of participant/partner satisfaction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Expert instructor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Quality field placements</a:t>
                      </a:r>
                    </a:p>
                    <a:p>
                      <a:pPr marL="298450" marR="5080" indent="-285750" defTabSz="914400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Gotham" panose="02000504020000020004" pitchFamily="2" charset="0"/>
                        <a:buChar char="&gt;"/>
                      </a:pPr>
                      <a:r>
                        <a:rPr lang="en-US" sz="1400" kern="0" dirty="0">
                          <a:solidFill>
                            <a:srgbClr val="3B3A3B"/>
                          </a:solidFill>
                          <a:latin typeface="+mj-lt"/>
                          <a:cs typeface="Gotham"/>
                        </a:rPr>
                        <a:t>Proven impact</a:t>
                      </a:r>
                      <a:endParaRPr lang="en-US" sz="1400" b="0" kern="0" dirty="0">
                        <a:solidFill>
                          <a:srgbClr val="3B3A3B"/>
                        </a:solidFill>
                        <a:latin typeface="+mj-lt"/>
                        <a:cs typeface="Gotham"/>
                      </a:endParaRPr>
                    </a:p>
                  </a:txBody>
                  <a:tcPr marL="182880" marR="182880" marT="137160" marB="13716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033128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671E0EFC-EE99-6B1A-70AD-848C65FC057D}"/>
              </a:ext>
            </a:extLst>
          </p:cNvPr>
          <p:cNvGrpSpPr/>
          <p:nvPr/>
        </p:nvGrpSpPr>
        <p:grpSpPr>
          <a:xfrm>
            <a:off x="2286000" y="1514835"/>
            <a:ext cx="7543800" cy="457200"/>
            <a:chOff x="2286000" y="1371600"/>
            <a:chExt cx="7543800" cy="4572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9EDEC79-5DCD-0E8E-6088-0C0DBDA2865F}"/>
                </a:ext>
              </a:extLst>
            </p:cNvPr>
            <p:cNvCxnSpPr>
              <a:cxnSpLocks/>
            </p:cNvCxnSpPr>
            <p:nvPr/>
          </p:nvCxnSpPr>
          <p:spPr>
            <a:xfrm>
              <a:off x="2286000" y="1600200"/>
              <a:ext cx="75438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F90AEFB-AB11-5079-09BF-4CD63F8753D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8674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D2FA404-EDD8-64A0-0DCA-B16934F6FE8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0574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5795534-35B0-71D0-9F8B-766279CBFAC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9601200" y="1600200"/>
              <a:ext cx="4572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38351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7F86E86-1609-D5E5-9359-C48BE52E85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70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7F86E86-1609-D5E5-9359-C48BE52E8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45" name="Table 1044">
            <a:extLst>
              <a:ext uri="{FF2B5EF4-FFF2-40B4-BE49-F238E27FC236}">
                <a16:creationId xmlns:a16="http://schemas.microsoft.com/office/drawing/2014/main" id="{88E9A5C0-432E-221F-E6F7-1EA060BE10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37070"/>
              </p:ext>
            </p:extLst>
          </p:nvPr>
        </p:nvGraphicFramePr>
        <p:xfrm>
          <a:off x="1219200" y="1828800"/>
          <a:ext cx="9998731" cy="3789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3672127399"/>
                    </a:ext>
                  </a:extLst>
                </a:gridCol>
                <a:gridCol w="9450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4744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recognize that it’s challenging to stay current on public health knowledge and practices … now more than ever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are passionately committed to providing the training and development the nation’s public health professionals need, how and when they need it.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have an ear to the ground…and an eye towards the future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615043"/>
                  </a:ext>
                </a:extLst>
              </a:tr>
              <a:tr h="947440"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37160" marR="1371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A3B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care deeply about sustaining a stronger public health workforce … and in making their lives easier along the way. 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17034"/>
                  </a:ext>
                </a:extLst>
              </a:tr>
            </a:tbl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A1FF5D-C7A9-6AF5-6D31-6A96342699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’s it like to work with the PHTCN?</a:t>
            </a:r>
          </a:p>
        </p:txBody>
      </p:sp>
      <p:sp>
        <p:nvSpPr>
          <p:cNvPr id="1059" name="Text Placeholder 1058">
            <a:extLst>
              <a:ext uri="{FF2B5EF4-FFF2-40B4-BE49-F238E27FC236}">
                <a16:creationId xmlns:a16="http://schemas.microsoft.com/office/drawing/2014/main" id="{876A1488-FF09-483F-0E27-149CB3C900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E28DC-A06C-0B45-3988-297BA9C6F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1069" name="Group 1068">
            <a:extLst>
              <a:ext uri="{FF2B5EF4-FFF2-40B4-BE49-F238E27FC236}">
                <a16:creationId xmlns:a16="http://schemas.microsoft.com/office/drawing/2014/main" id="{F5DF5D58-04E7-9D1A-2B73-6D7AC5821BC4}"/>
              </a:ext>
            </a:extLst>
          </p:cNvPr>
          <p:cNvGrpSpPr/>
          <p:nvPr/>
        </p:nvGrpSpPr>
        <p:grpSpPr>
          <a:xfrm>
            <a:off x="1524000" y="2000865"/>
            <a:ext cx="235308" cy="3420177"/>
            <a:chOff x="1295400" y="2133600"/>
            <a:chExt cx="235308" cy="3420177"/>
          </a:xfrm>
        </p:grpSpPr>
        <p:grpSp>
          <p:nvGrpSpPr>
            <p:cNvPr id="2" name="object 9">
              <a:extLst>
                <a:ext uri="{FF2B5EF4-FFF2-40B4-BE49-F238E27FC236}">
                  <a16:creationId xmlns:a16="http://schemas.microsoft.com/office/drawing/2014/main" id="{A29924CE-42C6-0632-ED23-FEB81BD05A9F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2320746"/>
              <a:ext cx="609600" cy="235308"/>
              <a:chOff x="560759" y="2417702"/>
              <a:chExt cx="844073" cy="325763"/>
            </a:xfrm>
          </p:grpSpPr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B5F8D718-AB1B-9F7B-F5B7-0954397B26A4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8" name="object 11">
                <a:extLst>
                  <a:ext uri="{FF2B5EF4-FFF2-40B4-BE49-F238E27FC236}">
                    <a16:creationId xmlns:a16="http://schemas.microsoft.com/office/drawing/2014/main" id="{1E3804A6-7F95-093B-9C30-6F66891BB8ED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5" name="object 12">
                <a:extLst>
                  <a:ext uri="{FF2B5EF4-FFF2-40B4-BE49-F238E27FC236}">
                    <a16:creationId xmlns:a16="http://schemas.microsoft.com/office/drawing/2014/main" id="{9A20B7C4-EFBC-BA15-5022-48B7991EE334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46" name="object 9">
              <a:extLst>
                <a:ext uri="{FF2B5EF4-FFF2-40B4-BE49-F238E27FC236}">
                  <a16:creationId xmlns:a16="http://schemas.microsoft.com/office/drawing/2014/main" id="{0B182D86-C35E-C7F9-06D0-5A0A8D721221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3257605"/>
              <a:ext cx="609600" cy="235308"/>
              <a:chOff x="560759" y="2417702"/>
              <a:chExt cx="844073" cy="325763"/>
            </a:xfrm>
          </p:grpSpPr>
          <p:sp>
            <p:nvSpPr>
              <p:cNvPr id="1047" name="object 10">
                <a:extLst>
                  <a:ext uri="{FF2B5EF4-FFF2-40B4-BE49-F238E27FC236}">
                    <a16:creationId xmlns:a16="http://schemas.microsoft.com/office/drawing/2014/main" id="{703E5CD4-2D1F-934D-B91C-E77047EC39EF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48" name="object 11">
                <a:extLst>
                  <a:ext uri="{FF2B5EF4-FFF2-40B4-BE49-F238E27FC236}">
                    <a16:creationId xmlns:a16="http://schemas.microsoft.com/office/drawing/2014/main" id="{3A6A1ED3-F759-252C-8F99-885583DEE733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49" name="object 12">
                <a:extLst>
                  <a:ext uri="{FF2B5EF4-FFF2-40B4-BE49-F238E27FC236}">
                    <a16:creationId xmlns:a16="http://schemas.microsoft.com/office/drawing/2014/main" id="{F0440DF5-59D1-1D36-9C47-9D3651F37FD0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61" name="object 9">
              <a:extLst>
                <a:ext uri="{FF2B5EF4-FFF2-40B4-BE49-F238E27FC236}">
                  <a16:creationId xmlns:a16="http://schemas.microsoft.com/office/drawing/2014/main" id="{FBD5C4B1-2EE4-9D4B-1954-FACD64E360F4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4194464"/>
              <a:ext cx="609600" cy="235308"/>
              <a:chOff x="560759" y="2417702"/>
              <a:chExt cx="844073" cy="325763"/>
            </a:xfrm>
          </p:grpSpPr>
          <p:sp>
            <p:nvSpPr>
              <p:cNvPr id="1062" name="object 10">
                <a:extLst>
                  <a:ext uri="{FF2B5EF4-FFF2-40B4-BE49-F238E27FC236}">
                    <a16:creationId xmlns:a16="http://schemas.microsoft.com/office/drawing/2014/main" id="{FFC24FA8-D183-BFDB-76DB-FD1771E6ADD7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63" name="object 11">
                <a:extLst>
                  <a:ext uri="{FF2B5EF4-FFF2-40B4-BE49-F238E27FC236}">
                    <a16:creationId xmlns:a16="http://schemas.microsoft.com/office/drawing/2014/main" id="{E8C5E9A2-2BDA-6685-F636-46B228418DC5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64" name="object 12">
                <a:extLst>
                  <a:ext uri="{FF2B5EF4-FFF2-40B4-BE49-F238E27FC236}">
                    <a16:creationId xmlns:a16="http://schemas.microsoft.com/office/drawing/2014/main" id="{E2156F08-9292-4F1C-CE33-EF7768889DEF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65" name="object 9">
              <a:extLst>
                <a:ext uri="{FF2B5EF4-FFF2-40B4-BE49-F238E27FC236}">
                  <a16:creationId xmlns:a16="http://schemas.microsoft.com/office/drawing/2014/main" id="{659768FE-9E5D-A61D-7B53-618ABECC6024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1108254" y="5131323"/>
              <a:ext cx="609600" cy="235308"/>
              <a:chOff x="560759" y="2417702"/>
              <a:chExt cx="844073" cy="325763"/>
            </a:xfrm>
          </p:grpSpPr>
          <p:sp>
            <p:nvSpPr>
              <p:cNvPr id="1066" name="object 10">
                <a:extLst>
                  <a:ext uri="{FF2B5EF4-FFF2-40B4-BE49-F238E27FC236}">
                    <a16:creationId xmlns:a16="http://schemas.microsoft.com/office/drawing/2014/main" id="{3BAE2D26-36FB-3790-7C60-B92A237CA7B4}"/>
                  </a:ext>
                </a:extLst>
              </p:cNvPr>
              <p:cNvSpPr/>
              <p:nvPr/>
            </p:nvSpPr>
            <p:spPr>
              <a:xfrm>
                <a:off x="982558" y="2417702"/>
                <a:ext cx="422274" cy="325755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112610" y="0"/>
                    </a:moveTo>
                    <a:lnTo>
                      <a:pt x="0" y="118554"/>
                    </a:lnTo>
                    <a:lnTo>
                      <a:pt x="196570" y="325488"/>
                    </a:lnTo>
                    <a:lnTo>
                      <a:pt x="421805" y="325488"/>
                    </a:lnTo>
                    <a:lnTo>
                      <a:pt x="112610" y="0"/>
                    </a:lnTo>
                    <a:close/>
                  </a:path>
                </a:pathLst>
              </a:custGeom>
              <a:solidFill>
                <a:srgbClr val="00AEE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067" name="object 11">
                <a:extLst>
                  <a:ext uri="{FF2B5EF4-FFF2-40B4-BE49-F238E27FC236}">
                    <a16:creationId xmlns:a16="http://schemas.microsoft.com/office/drawing/2014/main" id="{3BF6BADA-4EB2-9A3D-B597-D785AF3905FC}"/>
                  </a:ext>
                </a:extLst>
              </p:cNvPr>
              <p:cNvSpPr/>
              <p:nvPr/>
            </p:nvSpPr>
            <p:spPr>
              <a:xfrm>
                <a:off x="560759" y="2417709"/>
                <a:ext cx="422275" cy="325756"/>
              </a:xfrm>
              <a:custGeom>
                <a:avLst/>
                <a:gdLst/>
                <a:ahLst/>
                <a:cxnLst/>
                <a:rect l="l" t="t" r="r" b="b"/>
                <a:pathLst>
                  <a:path w="422275" h="325755">
                    <a:moveTo>
                      <a:pt x="309194" y="0"/>
                    </a:moveTo>
                    <a:lnTo>
                      <a:pt x="0" y="325488"/>
                    </a:lnTo>
                    <a:lnTo>
                      <a:pt x="225234" y="325488"/>
                    </a:lnTo>
                    <a:lnTo>
                      <a:pt x="421805" y="118554"/>
                    </a:lnTo>
                    <a:lnTo>
                      <a:pt x="309194" y="0"/>
                    </a:lnTo>
                    <a:close/>
                  </a:path>
                </a:pathLst>
              </a:custGeom>
              <a:solidFill>
                <a:srgbClr val="0082C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68" name="object 12">
                <a:extLst>
                  <a:ext uri="{FF2B5EF4-FFF2-40B4-BE49-F238E27FC236}">
                    <a16:creationId xmlns:a16="http://schemas.microsoft.com/office/drawing/2014/main" id="{BCEAD110-1FCC-F56E-E2FD-B5BD4B736E68}"/>
                  </a:ext>
                </a:extLst>
              </p:cNvPr>
              <p:cNvSpPr/>
              <p:nvPr/>
            </p:nvSpPr>
            <p:spPr>
              <a:xfrm>
                <a:off x="869952" y="2417706"/>
                <a:ext cx="225424" cy="118745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118744">
                    <a:moveTo>
                      <a:pt x="225221" y="0"/>
                    </a:moveTo>
                    <a:lnTo>
                      <a:pt x="0" y="0"/>
                    </a:lnTo>
                    <a:lnTo>
                      <a:pt x="112610" y="118554"/>
                    </a:lnTo>
                    <a:lnTo>
                      <a:pt x="225221" y="0"/>
                    </a:lnTo>
                    <a:close/>
                  </a:path>
                </a:pathLst>
              </a:custGeom>
              <a:solidFill>
                <a:srgbClr val="0069A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40633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D10149-4081-A8D0-D9BF-B1C11781D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/Process Examp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D31A29-451E-FECE-ECB3-3FE4DE6F8F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8528E-1EA5-39B6-DFD2-F09A685EB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D8C0105-D6D9-C1DE-6A5F-E1606FD9B289}"/>
              </a:ext>
            </a:extLst>
          </p:cNvPr>
          <p:cNvSpPr/>
          <p:nvPr/>
        </p:nvSpPr>
        <p:spPr>
          <a:xfrm>
            <a:off x="8882062" y="1350814"/>
            <a:ext cx="2852738" cy="698956"/>
          </a:xfrm>
          <a:prstGeom prst="homePlate">
            <a:avLst>
              <a:gd name="adj" fmla="val 23750"/>
            </a:avLst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4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A38644F2-7216-48BC-6EB8-5EE1B1248ACC}"/>
              </a:ext>
            </a:extLst>
          </p:cNvPr>
          <p:cNvSpPr/>
          <p:nvPr/>
        </p:nvSpPr>
        <p:spPr>
          <a:xfrm>
            <a:off x="6065648" y="1350814"/>
            <a:ext cx="3002151" cy="698956"/>
          </a:xfrm>
          <a:prstGeom prst="homePlate">
            <a:avLst>
              <a:gd name="adj" fmla="val 23750"/>
            </a:avLst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3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6C261B2C-7E62-C5D1-2081-1E3A882D84E8}"/>
              </a:ext>
            </a:extLst>
          </p:cNvPr>
          <p:cNvSpPr/>
          <p:nvPr/>
        </p:nvSpPr>
        <p:spPr>
          <a:xfrm>
            <a:off x="3200400" y="1350814"/>
            <a:ext cx="3098838" cy="698956"/>
          </a:xfrm>
          <a:prstGeom prst="homePlate">
            <a:avLst>
              <a:gd name="adj" fmla="val 23750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2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7A78B24C-ED94-F5FC-FB23-3C02B82A10E3}"/>
              </a:ext>
            </a:extLst>
          </p:cNvPr>
          <p:cNvSpPr/>
          <p:nvPr/>
        </p:nvSpPr>
        <p:spPr>
          <a:xfrm>
            <a:off x="457200" y="1350814"/>
            <a:ext cx="2971800" cy="698956"/>
          </a:xfrm>
          <a:prstGeom prst="homePlate">
            <a:avLst>
              <a:gd name="adj" fmla="val 23750"/>
            </a:avLst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hase O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94F5FC-8F39-A834-C726-02F89A0D845F}"/>
              </a:ext>
            </a:extLst>
          </p:cNvPr>
          <p:cNvSpPr txBox="1"/>
          <p:nvPr/>
        </p:nvSpPr>
        <p:spPr>
          <a:xfrm>
            <a:off x="496939" y="2125682"/>
            <a:ext cx="264050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B1EAC1-CEB6-3197-224C-87ED8D8033DE}"/>
              </a:ext>
            </a:extLst>
          </p:cNvPr>
          <p:cNvSpPr txBox="1"/>
          <p:nvPr/>
        </p:nvSpPr>
        <p:spPr>
          <a:xfrm>
            <a:off x="3268248" y="2125682"/>
            <a:ext cx="29414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8878AF-B6EB-4DFC-80EC-60AB3E93765D}"/>
              </a:ext>
            </a:extLst>
          </p:cNvPr>
          <p:cNvSpPr txBox="1"/>
          <p:nvPr/>
        </p:nvSpPr>
        <p:spPr>
          <a:xfrm>
            <a:off x="6188868" y="2125682"/>
            <a:ext cx="275571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3F4713-6128-0AB0-8C98-F37B23163430}"/>
              </a:ext>
            </a:extLst>
          </p:cNvPr>
          <p:cNvSpPr txBox="1"/>
          <p:nvPr/>
        </p:nvSpPr>
        <p:spPr>
          <a:xfrm>
            <a:off x="8945016" y="2125682"/>
            <a:ext cx="275004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Bullet matches chevron color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B4458"/>
                </a:solidFill>
              </a:rPr>
              <a:t>Lorem ipsum dolor sit </a:t>
            </a:r>
            <a:r>
              <a:rPr lang="en-US" sz="1400" dirty="0" err="1">
                <a:solidFill>
                  <a:srgbClr val="2B4458"/>
                </a:solidFill>
              </a:rPr>
              <a:t>amet</a:t>
            </a:r>
            <a:endParaRPr lang="en-US" sz="1400" dirty="0">
              <a:solidFill>
                <a:srgbClr val="2B4458"/>
              </a:solidFill>
            </a:endParaRP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B1B9CBAC-67FF-84A2-3B0A-76CAD0483B97}"/>
              </a:ext>
            </a:extLst>
          </p:cNvPr>
          <p:cNvSpPr/>
          <p:nvPr/>
        </p:nvSpPr>
        <p:spPr>
          <a:xfrm rot="16200000">
            <a:off x="5803644" y="-1824579"/>
            <a:ext cx="584713" cy="11247120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BD171D-A5D4-2BEE-5141-79BD51971337}"/>
              </a:ext>
            </a:extLst>
          </p:cNvPr>
          <p:cNvSpPr txBox="1"/>
          <p:nvPr/>
        </p:nvSpPr>
        <p:spPr>
          <a:xfrm>
            <a:off x="5009773" y="4167742"/>
            <a:ext cx="2172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Takeaway text here</a:t>
            </a:r>
          </a:p>
        </p:txBody>
      </p:sp>
    </p:spTree>
    <p:extLst>
      <p:ext uri="{BB962C8B-B14F-4D97-AF65-F5344CB8AC3E}">
        <p14:creationId xmlns:p14="http://schemas.microsoft.com/office/powerpoint/2010/main" val="4034141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5EA64E-79B6-4327-6206-B7B669888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528BA0-DD56-35DF-EE4B-E88933266B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EF30D-F519-D034-B9C6-7B6975B14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0F42CF0-BA4D-85E9-072B-6A116CF8E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320148"/>
              </p:ext>
            </p:extLst>
          </p:nvPr>
        </p:nvGraphicFramePr>
        <p:xfrm>
          <a:off x="457200" y="1524000"/>
          <a:ext cx="11277600" cy="4343400"/>
        </p:xfrm>
        <a:graphic>
          <a:graphicData uri="http://schemas.openxmlformats.org/drawingml/2006/table">
            <a:tbl>
              <a:tblPr firstRow="1" firstCol="1">
                <a:tableStyleId>{21E4AEA4-8DFA-4A89-87EB-49C32662AFE0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1970329503"/>
                    </a:ext>
                  </a:extLst>
                </a:gridCol>
                <a:gridCol w="9220200">
                  <a:extLst>
                    <a:ext uri="{9D8B030D-6E8A-4147-A177-3AD203B41FA5}">
                      <a16:colId xmlns:a16="http://schemas.microsoft.com/office/drawing/2014/main" val="1532271241"/>
                    </a:ext>
                  </a:extLst>
                </a:gridCol>
              </a:tblGrid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One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2340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75000"/>
                          </a:schemeClr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	 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44165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Two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12195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Three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507180"/>
                  </a:ext>
                </a:extLst>
              </a:tr>
              <a:tr h="108585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tegory Four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69863" marR="0" lvl="0" indent="-169863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Bullet matches category bucket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066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57313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5EA64E-79B6-4327-6206-B7B669888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669269-AB9B-16E7-61B8-6EE4ABCC4A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EF30D-F519-D034-B9C6-7B6975B14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BC0C7D1-2183-861E-91E2-D5214740F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742455"/>
              </p:ext>
            </p:extLst>
          </p:nvPr>
        </p:nvGraphicFramePr>
        <p:xfrm>
          <a:off x="457200" y="1447800"/>
          <a:ext cx="11277600" cy="4572000"/>
        </p:xfrm>
        <a:graphic>
          <a:graphicData uri="http://schemas.openxmlformats.org/drawingml/2006/table">
            <a:tbl>
              <a:tblPr firstRow="1" firstCol="1">
                <a:tableStyleId>{00A15C55-8517-42AA-B614-E9B94910E393}</a:tableStyleId>
              </a:tblPr>
              <a:tblGrid>
                <a:gridCol w="5638800">
                  <a:extLst>
                    <a:ext uri="{9D8B030D-6E8A-4147-A177-3AD203B41FA5}">
                      <a16:colId xmlns:a16="http://schemas.microsoft.com/office/drawing/2014/main" val="1970329503"/>
                    </a:ext>
                  </a:extLst>
                </a:gridCol>
                <a:gridCol w="5638800">
                  <a:extLst>
                    <a:ext uri="{9D8B030D-6E8A-4147-A177-3AD203B41FA5}">
                      <a16:colId xmlns:a16="http://schemas.microsoft.com/office/drawing/2014/main" val="1532271241"/>
                    </a:ext>
                  </a:extLst>
                </a:gridCol>
              </a:tblGrid>
              <a:tr h="640080"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475243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Lorem Ipsum</a:t>
                      </a:r>
                      <a:endParaRPr lang="en-US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1000"/>
                        <a:buFont typeface="Symbol" pitchFamily="2" charset="2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44165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12195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7600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83473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rem ipsum dolor sit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met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6921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85708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D2DDAC-8726-B815-875B-82E055ED9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3AF088-77B4-2313-E92D-E7D9EA584E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ext and Image Examp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EE68A8F-B302-7153-949A-3EEFA36117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1649605"/>
            <a:ext cx="5257800" cy="4574199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r>
              <a:rPr lang="en-US" b="1" dirty="0"/>
              <a:t>Image may be changed by clicking on image &gt; Picture Format &gt; Change Picture &gt; Select the new image you’d like to use</a:t>
            </a:r>
          </a:p>
        </p:txBody>
      </p:sp>
      <p:pic>
        <p:nvPicPr>
          <p:cNvPr id="10" name="Content Placeholder 7">
            <a:extLst>
              <a:ext uri="{FF2B5EF4-FFF2-40B4-BE49-F238E27FC236}">
                <a16:creationId xmlns:a16="http://schemas.microsoft.com/office/drawing/2014/main" id="{254779A2-6CBE-4DA9-9A21-0CD6BC18B2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1800" y="1649604"/>
            <a:ext cx="4548647" cy="457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3022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CB6045-7B5C-BD1F-0F98-4A84B8BA0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-branding Examp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57451B-8B97-E15B-63E6-E60C00DB49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EA9B3D-C5F7-03FB-52D7-0830A791130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58F851-3FF3-152F-F8BE-682EF000BD6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545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57451B-8B97-E15B-63E6-E60C00DB49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Introductory Text Here</a:t>
            </a:r>
          </a:p>
          <a:p>
            <a:r>
              <a:rPr lang="en-US" dirty="0"/>
              <a:t>Bullet level one	</a:t>
            </a:r>
          </a:p>
          <a:p>
            <a:pPr lvl="1"/>
            <a:r>
              <a:rPr lang="en-US" dirty="0"/>
              <a:t>Tab to next bullet</a:t>
            </a:r>
          </a:p>
          <a:p>
            <a:pPr lvl="2"/>
            <a:r>
              <a:rPr lang="en-US" dirty="0"/>
              <a:t>Tab to next bullet</a:t>
            </a:r>
          </a:p>
          <a:p>
            <a:pPr lvl="3"/>
            <a:r>
              <a:rPr lang="en-US" dirty="0"/>
              <a:t>Tab to next bullet</a:t>
            </a:r>
          </a:p>
          <a:p>
            <a:pPr lvl="4"/>
            <a:r>
              <a:rPr lang="en-US" dirty="0"/>
              <a:t>Tab to next bullet</a:t>
            </a:r>
          </a:p>
          <a:p>
            <a:pPr lvl="3"/>
            <a:r>
              <a:rPr lang="en-US" dirty="0"/>
              <a:t>Shift + Tab to decrease list level</a:t>
            </a:r>
          </a:p>
          <a:p>
            <a:pPr lvl="2"/>
            <a:r>
              <a:rPr lang="en-US" dirty="0"/>
              <a:t>Shift Tab to decrease list level</a:t>
            </a:r>
          </a:p>
          <a:p>
            <a:pPr lvl="2"/>
            <a:r>
              <a:rPr lang="en-US" dirty="0"/>
              <a:t>Alt + Shift + Up/Down arrows moves an item in a bulleted lis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CB6045-7B5C-BD1F-0F98-4A84B8BA0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-branding Example: Large Header with 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A4CA8-C8FF-9CB4-9F8B-1901F3A4B311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B1CF38-A8F0-6BD7-84FC-8B466822E347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095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212715-D6C8-0A6D-934B-CEC7841E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617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3BB01A-2ADA-F20F-C73B-D34673A25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Slide Layout Option 3: Gray/Cente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C606D-EFC5-B7E1-226A-6A2ECAD99C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7226-490A-03FD-84BA-96857F834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052503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8822FED-B10E-E64B-AC38-393B408DC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ECBBC3-767A-7B6A-64F0-7E732EDCEE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Blue Background/Blue Arrow</a:t>
            </a:r>
          </a:p>
        </p:txBody>
      </p:sp>
    </p:spTree>
    <p:extLst>
      <p:ext uri="{BB962C8B-B14F-4D97-AF65-F5344CB8AC3E}">
        <p14:creationId xmlns:p14="http://schemas.microsoft.com/office/powerpoint/2010/main" val="18243124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C2CB8-DA1A-5C8C-8333-209C59E3C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956BCD-8C4B-C6DB-05EF-B327F460D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Blue Background/Orange Arrow</a:t>
            </a:r>
          </a:p>
        </p:txBody>
      </p:sp>
    </p:spTree>
    <p:extLst>
      <p:ext uri="{BB962C8B-B14F-4D97-AF65-F5344CB8AC3E}">
        <p14:creationId xmlns:p14="http://schemas.microsoft.com/office/powerpoint/2010/main" val="11907568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DAF008-D5BA-B6F8-042D-651EFAA97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4CDFD5-1CE5-F375-02F4-2DFAC280EE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Purple Background/Purple Arrow</a:t>
            </a:r>
          </a:p>
        </p:txBody>
      </p:sp>
    </p:spTree>
    <p:extLst>
      <p:ext uri="{BB962C8B-B14F-4D97-AF65-F5344CB8AC3E}">
        <p14:creationId xmlns:p14="http://schemas.microsoft.com/office/powerpoint/2010/main" val="14690151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DAF008-D5BA-B6F8-042D-651EFAA97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5CC6-2F8E-4B4D-83FC-BA94D72B9BC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4CDFD5-1CE5-F375-02F4-2DFAC280EE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Dark Green Background/Green Arrow</a:t>
            </a:r>
          </a:p>
        </p:txBody>
      </p:sp>
    </p:spTree>
    <p:extLst>
      <p:ext uri="{BB962C8B-B14F-4D97-AF65-F5344CB8AC3E}">
        <p14:creationId xmlns:p14="http://schemas.microsoft.com/office/powerpoint/2010/main" val="13859860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DC2CB8-DA1A-5C8C-8333-209C59E3C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34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AA6019-C11F-F58D-9162-1A94F4A78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ction Break or Impact Text</a:t>
            </a:r>
            <a:br>
              <a:rPr lang="en-US" dirty="0"/>
            </a:br>
            <a:r>
              <a:rPr lang="en-US" dirty="0"/>
              <a:t>Gray Background/Green Arrow</a:t>
            </a:r>
          </a:p>
        </p:txBody>
      </p:sp>
    </p:spTree>
    <p:extLst>
      <p:ext uri="{BB962C8B-B14F-4D97-AF65-F5344CB8AC3E}">
        <p14:creationId xmlns:p14="http://schemas.microsoft.com/office/powerpoint/2010/main" val="3762528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212715-D6C8-0A6D-934B-CEC7841E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036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0" imgH="481" progId="TCLayout.ActiveDocument.1">
                  <p:embed/>
                </p:oleObj>
              </mc:Choice>
              <mc:Fallback>
                <p:oleObj name="think-cell Slide" r:id="rId3" imgW="480" imgH="48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E212715-D6C8-0A6D-934B-CEC7841E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3BB01A-2ADA-F20F-C73B-D34673A25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tle Slide Layout Option 4: Blue/Cente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C606D-EFC5-B7E1-226A-6A2ECAD99C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E AND ADDITIONAL INFORMATION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7226-490A-03FD-84BA-96857F834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Here and/or presen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2942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Gray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CA0037-5801-53D7-C9EC-BDAAE4B59B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5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26874-AFA1-3331-8367-3066C40775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407274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Blue 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6203E9-7D37-1CD3-B210-9339A0F7D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6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26874-AFA1-3331-8367-3066C40775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3328817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BB51BD-AFDC-86D4-D382-5E9AD60D6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7</a:t>
            </a:fld>
            <a:endParaRPr lang="en-US" noProof="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Large Gray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9F9AB5-C247-D298-8C68-2AE78CD177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616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8</a:t>
            </a:fld>
            <a:endParaRPr lang="en-US" noProof="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E7F38C-CC51-C1FC-E692-83663FDCA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 Layout: Large Blue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9F9AB5-C247-D298-8C68-2AE78CD177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EDA33DF-1B0D-A71D-2F18-9938925543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620CAA-37A4-6253-D8BA-1EC4E00640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1D25D-43DE-CF3A-1FCC-514275877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DCE5CC6-2F8E-4B4D-83FC-BA94D72B9BC1}" type="slidenum">
              <a:rPr lang="en-US" noProof="0" smtClean="0"/>
              <a:pPr lvl="0"/>
              <a:t>9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00197-49FF-EF62-17F4-0512A253E2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noProof="0" dirty="0"/>
              <a:t>Introductory Text Here</a:t>
            </a:r>
          </a:p>
          <a:p>
            <a:pPr lvl="0"/>
            <a:r>
              <a:rPr lang="en-US" noProof="0" dirty="0"/>
              <a:t>Bullet level one	</a:t>
            </a:r>
          </a:p>
          <a:p>
            <a:pPr lvl="1"/>
            <a:r>
              <a:rPr lang="en-US" noProof="0" dirty="0"/>
              <a:t>Tab to next bullet</a:t>
            </a:r>
          </a:p>
          <a:p>
            <a:pPr lvl="2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Tab to next bullet</a:t>
            </a:r>
          </a:p>
          <a:p>
            <a:pPr lvl="4"/>
            <a:r>
              <a:rPr lang="en-US" noProof="0" dirty="0"/>
              <a:t>Tab to next bullet</a:t>
            </a:r>
          </a:p>
          <a:p>
            <a:pPr lvl="3"/>
            <a:r>
              <a:rPr lang="en-US" noProof="0" dirty="0"/>
              <a:t>Shift + Tab to decrease list level</a:t>
            </a:r>
          </a:p>
          <a:p>
            <a:pPr lvl="2"/>
            <a:r>
              <a:rPr lang="en-US" noProof="0" dirty="0"/>
              <a:t>Shift Tab to decrease list level</a:t>
            </a:r>
          </a:p>
          <a:p>
            <a:pPr lvl="2"/>
            <a:r>
              <a:rPr lang="en-US" noProof="0" dirty="0"/>
              <a:t>Alt + Shift + Up/Down arrows moves an item in a bulleted lis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681E04-7AC5-9FAF-816C-09CD324287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ent: Large Gray Header with Line</a:t>
            </a:r>
          </a:p>
        </p:txBody>
      </p:sp>
    </p:spTree>
    <p:extLst>
      <p:ext uri="{BB962C8B-B14F-4D97-AF65-F5344CB8AC3E}">
        <p14:creationId xmlns:p14="http://schemas.microsoft.com/office/powerpoint/2010/main" val="482164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TCN Theme">
  <a:themeElements>
    <a:clrScheme name="PHTCN">
      <a:dk1>
        <a:srgbClr val="191919"/>
      </a:dk1>
      <a:lt1>
        <a:sysClr val="window" lastClr="FFFFFF"/>
      </a:lt1>
      <a:dk2>
        <a:srgbClr val="1F497D"/>
      </a:dk2>
      <a:lt2>
        <a:srgbClr val="DDDACA"/>
      </a:lt2>
      <a:accent1>
        <a:srgbClr val="00AEE6"/>
      </a:accent1>
      <a:accent2>
        <a:srgbClr val="FF2B3D"/>
      </a:accent2>
      <a:accent3>
        <a:srgbClr val="732670"/>
      </a:accent3>
      <a:accent4>
        <a:srgbClr val="0069AD"/>
      </a:accent4>
      <a:accent5>
        <a:srgbClr val="00A796"/>
      </a:accent5>
      <a:accent6>
        <a:srgbClr val="006838"/>
      </a:accent6>
      <a:hlink>
        <a:srgbClr val="8DC63F"/>
      </a:hlink>
      <a:folHlink>
        <a:srgbClr val="800080"/>
      </a:folHlink>
    </a:clrScheme>
    <a:fontScheme name="Aques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quest Theme" id="{C66DAF8A-A0D0-4F08-ADBE-D627B9D813C3}" vid="{87DB912F-56FF-41E7-89AF-254BB26B37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40</TotalTime>
  <Words>1817</Words>
  <Application>Microsoft Office PowerPoint</Application>
  <PresentationFormat>Widescreen</PresentationFormat>
  <Paragraphs>296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Wingdings</vt:lpstr>
      <vt:lpstr>Gotham</vt:lpstr>
      <vt:lpstr>Segoe UI</vt:lpstr>
      <vt:lpstr>Symbol</vt:lpstr>
      <vt:lpstr>Calibri</vt:lpstr>
      <vt:lpstr>PHTCN Theme</vt:lpstr>
      <vt:lpstr>think-cell Slide</vt:lpstr>
      <vt:lpstr>Title Layout Option 1: Gray/Left-aligned</vt:lpstr>
      <vt:lpstr>Title Layout Option 2: Blue/Left-aligned</vt:lpstr>
      <vt:lpstr>Title Slide Layout Option 3: Gray/Centered</vt:lpstr>
      <vt:lpstr>Title Slide Layout Option 4: Blue/Centere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yn DeLuca</dc:creator>
  <cp:lastModifiedBy>Poole, Tara Faircloth</cp:lastModifiedBy>
  <cp:revision>648</cp:revision>
  <dcterms:created xsi:type="dcterms:W3CDTF">2016-04-21T13:27:00Z</dcterms:created>
  <dcterms:modified xsi:type="dcterms:W3CDTF">2023-09-18T17:01:27Z</dcterms:modified>
</cp:coreProperties>
</file>